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23"/>
  </p:notesMasterIdLst>
  <p:handoutMasterIdLst>
    <p:handoutMasterId r:id="rId24"/>
  </p:handoutMasterIdLst>
  <p:sldIdLst>
    <p:sldId id="300" r:id="rId5"/>
    <p:sldId id="306" r:id="rId6"/>
    <p:sldId id="307" r:id="rId7"/>
    <p:sldId id="309" r:id="rId8"/>
    <p:sldId id="332" r:id="rId9"/>
    <p:sldId id="321" r:id="rId10"/>
    <p:sldId id="330" r:id="rId11"/>
    <p:sldId id="327" r:id="rId12"/>
    <p:sldId id="331" r:id="rId13"/>
    <p:sldId id="312" r:id="rId14"/>
    <p:sldId id="314" r:id="rId15"/>
    <p:sldId id="328" r:id="rId16"/>
    <p:sldId id="329" r:id="rId17"/>
    <p:sldId id="317" r:id="rId18"/>
    <p:sldId id="310" r:id="rId19"/>
    <p:sldId id="315" r:id="rId20"/>
    <p:sldId id="316" r:id="rId21"/>
    <p:sldId id="313" r:id="rId22"/>
  </p:sldIdLst>
  <p:sldSz cx="12192000" cy="6858000"/>
  <p:notesSz cx="6858000" cy="9144000"/>
  <p:custDataLst>
    <p:tags r:id="rId2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F618CC8-7F86-4B01-A644-F81E436CE53D}">
          <p14:sldIdLst>
            <p14:sldId id="300"/>
            <p14:sldId id="306"/>
            <p14:sldId id="307"/>
            <p14:sldId id="309"/>
          </p14:sldIdLst>
        </p14:section>
        <p14:section name="Modeling" id="{6772E085-9E0C-4A82-BB1B-6E97C2BC4CD7}">
          <p14:sldIdLst>
            <p14:sldId id="332"/>
            <p14:sldId id="321"/>
            <p14:sldId id="330"/>
            <p14:sldId id="327"/>
            <p14:sldId id="331"/>
          </p14:sldIdLst>
        </p14:section>
        <p14:section name="Results" id="{22A5B4B3-34E4-4A1F-BE3A-96E289735914}">
          <p14:sldIdLst>
            <p14:sldId id="312"/>
            <p14:sldId id="314"/>
            <p14:sldId id="328"/>
            <p14:sldId id="329"/>
            <p14:sldId id="317"/>
          </p14:sldIdLst>
        </p14:section>
        <p14:section name="Apendix" id="{A024BA38-2904-499D-8964-15D0BAECD8DE}">
          <p14:sldIdLst>
            <p14:sldId id="310"/>
            <p14:sldId id="315"/>
            <p14:sldId id="316"/>
            <p14:sldId id="313"/>
          </p14:sldIdLst>
        </p14:section>
      </p14:sectionLst>
    </p:ext>
    <p:ext uri="{EFAFB233-063F-42B5-8137-9DF3F51BA10A}">
      <p15:sldGuideLst xmlns:p15="http://schemas.microsoft.com/office/powerpoint/2012/main">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8D47A16-E654-398E-35DE-C04893751CB6}" name="Hendrik Künnemann" initials="" userId="S::57995@novasbe.pt::42049411-02c5-422c-a22f-150aa89b4dd4" providerId="AD"/>
  <p188:author id="{3C80182F-D0BE-FE84-BB2A-A490DA7ED102}" name="Moritz Lind" initials="ML" userId="S::61230@novasbe.pt::3c46de29-e3d8-46a3-bade-23b6b6ccc123" providerId="AD"/>
  <p188:author id="{0B1A319E-6710-D505-FDAD-D7A83BD294B0}" name="Zeno Eule" initials="ZE" userId="S::59093@novasbe.pt::2181db0d-9eef-459a-8936-2b35df8d15f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22133"/>
    <a:srgbClr val="CDECFF"/>
    <a:srgbClr val="D5D5D5"/>
    <a:srgbClr val="945200"/>
    <a:srgbClr val="2078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57CF67-0860-E58A-EF2D-3341D6D74106}" v="17" dt="2024-05-17T09:37:48.528"/>
    <p1510:client id="{196F8E04-0BDA-4EA7-9D47-57024E56AF25}" v="1221" dt="2024-05-17T17:17:52.706"/>
    <p1510:client id="{578E8D60-8950-F04D-98B0-3C702F5FCA63}" v="728" dt="2024-05-17T17:04:08.819"/>
    <p1510:client id="{93B0B1BB-48AC-4F56-9A0A-FC3AA98A00A8}" v="1241" dt="2024-05-17T17:33:05.981"/>
    <p1510:client id="{E69AC1FB-9437-4EFA-B5DB-40B9B6E2644C}" v="3827" dt="2024-05-17T18:49:00.2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3840"/>
        <p:guide orient="horz" pos="216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eno Eule" userId="2181db0d-9eef-459a-8936-2b35df8d15f4" providerId="ADAL" clId="{93B0B1BB-48AC-4F56-9A0A-FC3AA98A00A8}"/>
    <pc:docChg chg="undo custSel addSld delSld modSld sldOrd modMainMaster modSection replTag">
      <pc:chgData name="Zeno Eule" userId="2181db0d-9eef-459a-8936-2b35df8d15f4" providerId="ADAL" clId="{93B0B1BB-48AC-4F56-9A0A-FC3AA98A00A8}" dt="2024-05-17T17:33:05.981" v="4157" actId="313"/>
      <pc:docMkLst>
        <pc:docMk/>
      </pc:docMkLst>
      <pc:sldChg chg="addSp modSp mod ord">
        <pc:chgData name="Zeno Eule" userId="2181db0d-9eef-459a-8936-2b35df8d15f4" providerId="ADAL" clId="{93B0B1BB-48AC-4F56-9A0A-FC3AA98A00A8}" dt="2024-05-15T10:12:23.900" v="1696"/>
        <pc:sldMkLst>
          <pc:docMk/>
          <pc:sldMk cId="2401001035" sldId="300"/>
        </pc:sldMkLst>
        <pc:spChg chg="add mod ord">
          <ac:chgData name="Zeno Eule" userId="2181db0d-9eef-459a-8936-2b35df8d15f4" providerId="ADAL" clId="{93B0B1BB-48AC-4F56-9A0A-FC3AA98A00A8}" dt="2024-05-10T08:44:05.979" v="811" actId="207"/>
          <ac:spMkLst>
            <pc:docMk/>
            <pc:sldMk cId="2401001035" sldId="300"/>
            <ac:spMk id="2" creationId="{5E8338A6-6DF9-FD23-982A-EC401F20B21F}"/>
          </ac:spMkLst>
        </pc:spChg>
        <pc:spChg chg="mod ord">
          <ac:chgData name="Zeno Eule" userId="2181db0d-9eef-459a-8936-2b35df8d15f4" providerId="ADAL" clId="{93B0B1BB-48AC-4F56-9A0A-FC3AA98A00A8}" dt="2024-05-10T08:43:02.509" v="727"/>
          <ac:spMkLst>
            <pc:docMk/>
            <pc:sldMk cId="2401001035" sldId="300"/>
            <ac:spMk id="3" creationId="{ED8E5DDE-5D4E-CDAE-6599-6967AAAF378D}"/>
          </ac:spMkLst>
        </pc:spChg>
        <pc:spChg chg="mod ord">
          <ac:chgData name="Zeno Eule" userId="2181db0d-9eef-459a-8936-2b35df8d15f4" providerId="ADAL" clId="{93B0B1BB-48AC-4F56-9A0A-FC3AA98A00A8}" dt="2024-05-10T10:01:36.868" v="816" actId="20577"/>
          <ac:spMkLst>
            <pc:docMk/>
            <pc:sldMk cId="2401001035" sldId="300"/>
            <ac:spMk id="4" creationId="{6C9FD9ED-BDC2-080D-7C01-5BD5C9EFD45C}"/>
          </ac:spMkLst>
        </pc:spChg>
        <pc:spChg chg="mod ord">
          <ac:chgData name="Zeno Eule" userId="2181db0d-9eef-459a-8936-2b35df8d15f4" providerId="ADAL" clId="{93B0B1BB-48AC-4F56-9A0A-FC3AA98A00A8}" dt="2024-05-10T08:43:02.509" v="731"/>
          <ac:spMkLst>
            <pc:docMk/>
            <pc:sldMk cId="2401001035" sldId="300"/>
            <ac:spMk id="5" creationId="{D82033B0-7937-C1FB-F944-3ED8D21FF092}"/>
          </ac:spMkLst>
        </pc:spChg>
        <pc:graphicFrameChg chg="add mod ord modVis replST">
          <ac:chgData name="Zeno Eule" userId="2181db0d-9eef-459a-8936-2b35df8d15f4" providerId="ADAL" clId="{93B0B1BB-48AC-4F56-9A0A-FC3AA98A00A8}" dt="2024-05-10T08:43:02.511" v="735"/>
          <ac:graphicFrameMkLst>
            <pc:docMk/>
            <pc:sldMk cId="2401001035" sldId="300"/>
            <ac:graphicFrameMk id="6" creationId="{6FA328CD-9F5C-EF89-7BBA-1DE428A6672E}"/>
          </ac:graphicFrameMkLst>
        </pc:graphicFrameChg>
        <pc:picChg chg="add mod ord">
          <ac:chgData name="Zeno Eule" userId="2181db0d-9eef-459a-8936-2b35df8d15f4" providerId="ADAL" clId="{93B0B1BB-48AC-4F56-9A0A-FC3AA98A00A8}" dt="2024-05-10T08:43:02.506" v="723"/>
          <ac:picMkLst>
            <pc:docMk/>
            <pc:sldMk cId="2401001035" sldId="300"/>
            <ac:picMk id="1026" creationId="{94FE8556-AA99-EEFD-2E3A-0906133CAD64}"/>
          </ac:picMkLst>
        </pc:picChg>
      </pc:sldChg>
      <pc:sldChg chg="addSp delSp modSp del mod">
        <pc:chgData name="Zeno Eule" userId="2181db0d-9eef-459a-8936-2b35df8d15f4" providerId="ADAL" clId="{93B0B1BB-48AC-4F56-9A0A-FC3AA98A00A8}" dt="2024-05-09T21:47:48.222" v="376" actId="47"/>
        <pc:sldMkLst>
          <pc:docMk/>
          <pc:sldMk cId="3447828351" sldId="301"/>
        </pc:sldMkLst>
        <pc:spChg chg="add del">
          <ac:chgData name="Zeno Eule" userId="2181db0d-9eef-459a-8936-2b35df8d15f4" providerId="ADAL" clId="{93B0B1BB-48AC-4F56-9A0A-FC3AA98A00A8}" dt="2024-05-09T21:33:43.979" v="145" actId="478"/>
          <ac:spMkLst>
            <pc:docMk/>
            <pc:sldMk cId="3447828351" sldId="301"/>
            <ac:spMk id="2" creationId="{4801ED8D-D221-2A67-5162-F84B69137A74}"/>
          </ac:spMkLst>
        </pc:spChg>
        <pc:spChg chg="mod">
          <ac:chgData name="Zeno Eule" userId="2181db0d-9eef-459a-8936-2b35df8d15f4" providerId="ADAL" clId="{93B0B1BB-48AC-4F56-9A0A-FC3AA98A00A8}" dt="2024-05-09T21:37:53.637" v="241" actId="20577"/>
          <ac:spMkLst>
            <pc:docMk/>
            <pc:sldMk cId="3447828351" sldId="301"/>
            <ac:spMk id="3" creationId="{EBD4A69F-E550-7DD9-1AAB-9658D13D23E0}"/>
          </ac:spMkLst>
        </pc:spChg>
      </pc:sldChg>
      <pc:sldChg chg="addSp delSp modSp add del mod">
        <pc:chgData name="Zeno Eule" userId="2181db0d-9eef-459a-8936-2b35df8d15f4" providerId="ADAL" clId="{93B0B1BB-48AC-4F56-9A0A-FC3AA98A00A8}" dt="2024-05-13T21:30:33.961" v="843" actId="47"/>
        <pc:sldMkLst>
          <pc:docMk/>
          <pc:sldMk cId="2141546441" sldId="302"/>
        </pc:sldMkLst>
        <pc:spChg chg="mod">
          <ac:chgData name="Zeno Eule" userId="2181db0d-9eef-459a-8936-2b35df8d15f4" providerId="ADAL" clId="{93B0B1BB-48AC-4F56-9A0A-FC3AA98A00A8}" dt="2024-05-09T21:35:16.875" v="214" actId="20577"/>
          <ac:spMkLst>
            <pc:docMk/>
            <pc:sldMk cId="2141546441" sldId="302"/>
            <ac:spMk id="3" creationId="{EBD4A69F-E550-7DD9-1AAB-9658D13D23E0}"/>
          </ac:spMkLst>
        </pc:spChg>
        <pc:picChg chg="add del">
          <ac:chgData name="Zeno Eule" userId="2181db0d-9eef-459a-8936-2b35df8d15f4" providerId="ADAL" clId="{93B0B1BB-48AC-4F56-9A0A-FC3AA98A00A8}" dt="2024-05-13T21:23:58.615" v="818" actId="478"/>
          <ac:picMkLst>
            <pc:docMk/>
            <pc:sldMk cId="2141546441" sldId="302"/>
            <ac:picMk id="1026" creationId="{9AC9F8FF-255B-3797-36EE-DC42D19BCF00}"/>
          </ac:picMkLst>
        </pc:picChg>
        <pc:picChg chg="add del mod">
          <ac:chgData name="Zeno Eule" userId="2181db0d-9eef-459a-8936-2b35df8d15f4" providerId="ADAL" clId="{93B0B1BB-48AC-4F56-9A0A-FC3AA98A00A8}" dt="2024-05-13T21:29:53.338" v="824" actId="21"/>
          <ac:picMkLst>
            <pc:docMk/>
            <pc:sldMk cId="2141546441" sldId="302"/>
            <ac:picMk id="1028" creationId="{010AA5DD-8EC1-76E5-B2A0-8AA6F332E500}"/>
          </ac:picMkLst>
        </pc:picChg>
      </pc:sldChg>
      <pc:sldChg chg="modSp del mod">
        <pc:chgData name="Zeno Eule" userId="2181db0d-9eef-459a-8936-2b35df8d15f4" providerId="ADAL" clId="{93B0B1BB-48AC-4F56-9A0A-FC3AA98A00A8}" dt="2024-05-09T21:34:30.610" v="153" actId="47"/>
        <pc:sldMkLst>
          <pc:docMk/>
          <pc:sldMk cId="2316642031" sldId="302"/>
        </pc:sldMkLst>
        <pc:spChg chg="mod">
          <ac:chgData name="Zeno Eule" userId="2181db0d-9eef-459a-8936-2b35df8d15f4" providerId="ADAL" clId="{93B0B1BB-48AC-4F56-9A0A-FC3AA98A00A8}" dt="2024-05-09T21:31:53.754" v="111" actId="20577"/>
          <ac:spMkLst>
            <pc:docMk/>
            <pc:sldMk cId="2316642031" sldId="302"/>
            <ac:spMk id="3" creationId="{EBD4A69F-E550-7DD9-1AAB-9658D13D23E0}"/>
          </ac:spMkLst>
        </pc:spChg>
      </pc:sldChg>
      <pc:sldChg chg="modSp add del mod">
        <pc:chgData name="Zeno Eule" userId="2181db0d-9eef-459a-8936-2b35df8d15f4" providerId="ADAL" clId="{93B0B1BB-48AC-4F56-9A0A-FC3AA98A00A8}" dt="2024-05-13T21:53:55.205" v="1104" actId="47"/>
        <pc:sldMkLst>
          <pc:docMk/>
          <pc:sldMk cId="462574822" sldId="303"/>
        </pc:sldMkLst>
        <pc:spChg chg="mod">
          <ac:chgData name="Zeno Eule" userId="2181db0d-9eef-459a-8936-2b35df8d15f4" providerId="ADAL" clId="{93B0B1BB-48AC-4F56-9A0A-FC3AA98A00A8}" dt="2024-05-09T21:35:24.342" v="231" actId="20577"/>
          <ac:spMkLst>
            <pc:docMk/>
            <pc:sldMk cId="462574822" sldId="303"/>
            <ac:spMk id="3" creationId="{EBD4A69F-E550-7DD9-1AAB-9658D13D23E0}"/>
          </ac:spMkLst>
        </pc:spChg>
      </pc:sldChg>
      <pc:sldChg chg="delSp modSp del mod">
        <pc:chgData name="Zeno Eule" userId="2181db0d-9eef-459a-8936-2b35df8d15f4" providerId="ADAL" clId="{93B0B1BB-48AC-4F56-9A0A-FC3AA98A00A8}" dt="2024-05-09T21:34:28.708" v="151" actId="47"/>
        <pc:sldMkLst>
          <pc:docMk/>
          <pc:sldMk cId="2624028106" sldId="303"/>
        </pc:sldMkLst>
        <pc:spChg chg="mod">
          <ac:chgData name="Zeno Eule" userId="2181db0d-9eef-459a-8936-2b35df8d15f4" providerId="ADAL" clId="{93B0B1BB-48AC-4F56-9A0A-FC3AA98A00A8}" dt="2024-05-09T21:31:45.897" v="109" actId="20577"/>
          <ac:spMkLst>
            <pc:docMk/>
            <pc:sldMk cId="2624028106" sldId="303"/>
            <ac:spMk id="3" creationId="{EBD4A69F-E550-7DD9-1AAB-9658D13D23E0}"/>
          </ac:spMkLst>
        </pc:spChg>
        <pc:spChg chg="del">
          <ac:chgData name="Zeno Eule" userId="2181db0d-9eef-459a-8936-2b35df8d15f4" providerId="ADAL" clId="{93B0B1BB-48AC-4F56-9A0A-FC3AA98A00A8}" dt="2024-05-09T21:31:43.670" v="108" actId="478"/>
          <ac:spMkLst>
            <pc:docMk/>
            <pc:sldMk cId="2624028106" sldId="303"/>
            <ac:spMk id="6" creationId="{CCFB6F16-1A0A-E13F-38AF-D2A4DC941E41}"/>
          </ac:spMkLst>
        </pc:spChg>
        <pc:spChg chg="del">
          <ac:chgData name="Zeno Eule" userId="2181db0d-9eef-459a-8936-2b35df8d15f4" providerId="ADAL" clId="{93B0B1BB-48AC-4F56-9A0A-FC3AA98A00A8}" dt="2024-05-09T21:31:43.670" v="108" actId="478"/>
          <ac:spMkLst>
            <pc:docMk/>
            <pc:sldMk cId="2624028106" sldId="303"/>
            <ac:spMk id="13" creationId="{7600CA5C-8404-6C89-D2ED-940F273B887C}"/>
          </ac:spMkLst>
        </pc:spChg>
        <pc:picChg chg="del">
          <ac:chgData name="Zeno Eule" userId="2181db0d-9eef-459a-8936-2b35df8d15f4" providerId="ADAL" clId="{93B0B1BB-48AC-4F56-9A0A-FC3AA98A00A8}" dt="2024-05-09T21:31:43.670" v="108" actId="478"/>
          <ac:picMkLst>
            <pc:docMk/>
            <pc:sldMk cId="2624028106" sldId="303"/>
            <ac:picMk id="10" creationId="{377B79FD-BEF8-9AEA-5499-FCC95AF1260D}"/>
          </ac:picMkLst>
        </pc:picChg>
        <pc:picChg chg="del">
          <ac:chgData name="Zeno Eule" userId="2181db0d-9eef-459a-8936-2b35df8d15f4" providerId="ADAL" clId="{93B0B1BB-48AC-4F56-9A0A-FC3AA98A00A8}" dt="2024-05-09T21:31:43.670" v="108" actId="478"/>
          <ac:picMkLst>
            <pc:docMk/>
            <pc:sldMk cId="2624028106" sldId="303"/>
            <ac:picMk id="12" creationId="{AC14FF49-1498-E866-919E-876EAD80DEC7}"/>
          </ac:picMkLst>
        </pc:picChg>
      </pc:sldChg>
      <pc:sldChg chg="modSp del mod">
        <pc:chgData name="Zeno Eule" userId="2181db0d-9eef-459a-8936-2b35df8d15f4" providerId="ADAL" clId="{93B0B1BB-48AC-4F56-9A0A-FC3AA98A00A8}" dt="2024-05-09T21:34:28.129" v="150" actId="47"/>
        <pc:sldMkLst>
          <pc:docMk/>
          <pc:sldMk cId="1384387329" sldId="304"/>
        </pc:sldMkLst>
        <pc:spChg chg="mod">
          <ac:chgData name="Zeno Eule" userId="2181db0d-9eef-459a-8936-2b35df8d15f4" providerId="ADAL" clId="{93B0B1BB-48AC-4F56-9A0A-FC3AA98A00A8}" dt="2024-05-09T21:31:58.293" v="112" actId="20577"/>
          <ac:spMkLst>
            <pc:docMk/>
            <pc:sldMk cId="1384387329" sldId="304"/>
            <ac:spMk id="3" creationId="{EBD4A69F-E550-7DD9-1AAB-9658D13D23E0}"/>
          </ac:spMkLst>
        </pc:spChg>
      </pc:sldChg>
      <pc:sldChg chg="modSp add del mod">
        <pc:chgData name="Zeno Eule" userId="2181db0d-9eef-459a-8936-2b35df8d15f4" providerId="ADAL" clId="{93B0B1BB-48AC-4F56-9A0A-FC3AA98A00A8}" dt="2024-05-13T21:54:04.124" v="1115" actId="47"/>
        <pc:sldMkLst>
          <pc:docMk/>
          <pc:sldMk cId="2751680300" sldId="304"/>
        </pc:sldMkLst>
        <pc:spChg chg="mod">
          <ac:chgData name="Zeno Eule" userId="2181db0d-9eef-459a-8936-2b35df8d15f4" providerId="ADAL" clId="{93B0B1BB-48AC-4F56-9A0A-FC3AA98A00A8}" dt="2024-05-09T21:35:36.276" v="239" actId="20577"/>
          <ac:spMkLst>
            <pc:docMk/>
            <pc:sldMk cId="2751680300" sldId="304"/>
            <ac:spMk id="3" creationId="{EBD4A69F-E550-7DD9-1AAB-9658D13D23E0}"/>
          </ac:spMkLst>
        </pc:spChg>
      </pc:sldChg>
      <pc:sldChg chg="modSp del mod">
        <pc:chgData name="Zeno Eule" userId="2181db0d-9eef-459a-8936-2b35df8d15f4" providerId="ADAL" clId="{93B0B1BB-48AC-4F56-9A0A-FC3AA98A00A8}" dt="2024-05-09T21:34:27.978" v="149" actId="47"/>
        <pc:sldMkLst>
          <pc:docMk/>
          <pc:sldMk cId="592031144" sldId="305"/>
        </pc:sldMkLst>
        <pc:spChg chg="mod">
          <ac:chgData name="Zeno Eule" userId="2181db0d-9eef-459a-8936-2b35df8d15f4" providerId="ADAL" clId="{93B0B1BB-48AC-4F56-9A0A-FC3AA98A00A8}" dt="2024-05-09T21:32:02.532" v="113" actId="20577"/>
          <ac:spMkLst>
            <pc:docMk/>
            <pc:sldMk cId="592031144" sldId="305"/>
            <ac:spMk id="3" creationId="{EBD4A69F-E550-7DD9-1AAB-9658D13D23E0}"/>
          </ac:spMkLst>
        </pc:spChg>
      </pc:sldChg>
      <pc:sldChg chg="add del">
        <pc:chgData name="Zeno Eule" userId="2181db0d-9eef-459a-8936-2b35df8d15f4" providerId="ADAL" clId="{93B0B1BB-48AC-4F56-9A0A-FC3AA98A00A8}" dt="2024-05-13T21:54:03.789" v="1114" actId="47"/>
        <pc:sldMkLst>
          <pc:docMk/>
          <pc:sldMk cId="2579544791" sldId="305"/>
        </pc:sldMkLst>
      </pc:sldChg>
      <pc:sldChg chg="addSp delSp modSp new mod ord delCm modCm">
        <pc:chgData name="Zeno Eule" userId="2181db0d-9eef-459a-8936-2b35df8d15f4" providerId="ADAL" clId="{93B0B1BB-48AC-4F56-9A0A-FC3AA98A00A8}" dt="2024-05-17T17:00:20.696" v="4148" actId="1036"/>
        <pc:sldMkLst>
          <pc:docMk/>
          <pc:sldMk cId="127659681" sldId="306"/>
        </pc:sldMkLst>
        <pc:spChg chg="mod">
          <ac:chgData name="Zeno Eule" userId="2181db0d-9eef-459a-8936-2b35df8d15f4" providerId="ADAL" clId="{93B0B1BB-48AC-4F56-9A0A-FC3AA98A00A8}" dt="2024-05-09T21:40:03.134" v="259"/>
          <ac:spMkLst>
            <pc:docMk/>
            <pc:sldMk cId="127659681" sldId="306"/>
            <ac:spMk id="2" creationId="{EB5EAA25-5E9B-D963-60B6-88AB5BBC01C9}"/>
          </ac:spMkLst>
        </pc:spChg>
        <pc:spChg chg="mod">
          <ac:chgData name="Zeno Eule" userId="2181db0d-9eef-459a-8936-2b35df8d15f4" providerId="ADAL" clId="{93B0B1BB-48AC-4F56-9A0A-FC3AA98A00A8}" dt="2024-05-15T10:22:54.076" v="1718" actId="20577"/>
          <ac:spMkLst>
            <pc:docMk/>
            <pc:sldMk cId="127659681" sldId="306"/>
            <ac:spMk id="3" creationId="{7988F922-F0EA-6EA4-18D8-FD13A0098F50}"/>
          </ac:spMkLst>
        </pc:spChg>
        <pc:spChg chg="add del mod">
          <ac:chgData name="Zeno Eule" userId="2181db0d-9eef-459a-8936-2b35df8d15f4" providerId="ADAL" clId="{93B0B1BB-48AC-4F56-9A0A-FC3AA98A00A8}" dt="2024-05-09T21:41:55.577" v="300" actId="478"/>
          <ac:spMkLst>
            <pc:docMk/>
            <pc:sldMk cId="127659681" sldId="306"/>
            <ac:spMk id="4" creationId="{8186898E-38E9-65F8-2B7F-570668ED9B78}"/>
          </ac:spMkLst>
        </pc:spChg>
        <pc:spChg chg="add mod">
          <ac:chgData name="Zeno Eule" userId="2181db0d-9eef-459a-8936-2b35df8d15f4" providerId="ADAL" clId="{93B0B1BB-48AC-4F56-9A0A-FC3AA98A00A8}" dt="2024-05-15T10:05:45.125" v="1629" actId="3064"/>
          <ac:spMkLst>
            <pc:docMk/>
            <pc:sldMk cId="127659681" sldId="306"/>
            <ac:spMk id="4" creationId="{E45E7457-327E-E48B-C8AC-1C14D9A22561}"/>
          </ac:spMkLst>
        </pc:spChg>
        <pc:spChg chg="add mod">
          <ac:chgData name="Zeno Eule" userId="2181db0d-9eef-459a-8936-2b35df8d15f4" providerId="ADAL" clId="{93B0B1BB-48AC-4F56-9A0A-FC3AA98A00A8}" dt="2024-05-15T10:00:43.632" v="1598" actId="1076"/>
          <ac:spMkLst>
            <pc:docMk/>
            <pc:sldMk cId="127659681" sldId="306"/>
            <ac:spMk id="5" creationId="{54587E6A-6ACE-2E21-4C03-679E04C632A8}"/>
          </ac:spMkLst>
        </pc:spChg>
        <pc:spChg chg="add mod">
          <ac:chgData name="Zeno Eule" userId="2181db0d-9eef-459a-8936-2b35df8d15f4" providerId="ADAL" clId="{93B0B1BB-48AC-4F56-9A0A-FC3AA98A00A8}" dt="2024-05-15T13:59:54.792" v="2854" actId="1036"/>
          <ac:spMkLst>
            <pc:docMk/>
            <pc:sldMk cId="127659681" sldId="306"/>
            <ac:spMk id="6" creationId="{E5CBFAB4-A898-EBB5-CFF6-5860E63DA9D2}"/>
          </ac:spMkLst>
        </pc:spChg>
        <pc:spChg chg="add mod">
          <ac:chgData name="Zeno Eule" userId="2181db0d-9eef-459a-8936-2b35df8d15f4" providerId="ADAL" clId="{93B0B1BB-48AC-4F56-9A0A-FC3AA98A00A8}" dt="2024-05-15T10:10:40.851" v="1684" actId="20577"/>
          <ac:spMkLst>
            <pc:docMk/>
            <pc:sldMk cId="127659681" sldId="306"/>
            <ac:spMk id="7" creationId="{F7F7936D-ADA2-34D7-ECF3-9F5A9C53337E}"/>
          </ac:spMkLst>
        </pc:spChg>
        <pc:spChg chg="add mod">
          <ac:chgData name="Zeno Eule" userId="2181db0d-9eef-459a-8936-2b35df8d15f4" providerId="ADAL" clId="{93B0B1BB-48AC-4F56-9A0A-FC3AA98A00A8}" dt="2024-05-15T10:00:43.632" v="1598" actId="1076"/>
          <ac:spMkLst>
            <pc:docMk/>
            <pc:sldMk cId="127659681" sldId="306"/>
            <ac:spMk id="8" creationId="{B3F271A0-88FB-6537-41CE-BABDC167CA91}"/>
          </ac:spMkLst>
        </pc:spChg>
        <pc:spChg chg="add mod">
          <ac:chgData name="Zeno Eule" userId="2181db0d-9eef-459a-8936-2b35df8d15f4" providerId="ADAL" clId="{93B0B1BB-48AC-4F56-9A0A-FC3AA98A00A8}" dt="2024-05-15T09:59:18.674" v="1578" actId="14100"/>
          <ac:spMkLst>
            <pc:docMk/>
            <pc:sldMk cId="127659681" sldId="306"/>
            <ac:spMk id="9" creationId="{F8E362FD-ED82-9D2F-1E1C-ECFBFCB4EF47}"/>
          </ac:spMkLst>
        </pc:spChg>
        <pc:spChg chg="add mod">
          <ac:chgData name="Zeno Eule" userId="2181db0d-9eef-459a-8936-2b35df8d15f4" providerId="ADAL" clId="{93B0B1BB-48AC-4F56-9A0A-FC3AA98A00A8}" dt="2024-05-15T10:00:43.632" v="1598" actId="1076"/>
          <ac:spMkLst>
            <pc:docMk/>
            <pc:sldMk cId="127659681" sldId="306"/>
            <ac:spMk id="10" creationId="{432743BA-F92B-48D5-8D34-274CABF05A45}"/>
          </ac:spMkLst>
        </pc:spChg>
        <pc:spChg chg="add mod">
          <ac:chgData name="Zeno Eule" userId="2181db0d-9eef-459a-8936-2b35df8d15f4" providerId="ADAL" clId="{93B0B1BB-48AC-4F56-9A0A-FC3AA98A00A8}" dt="2024-05-15T10:00:43.632" v="1598" actId="1076"/>
          <ac:spMkLst>
            <pc:docMk/>
            <pc:sldMk cId="127659681" sldId="306"/>
            <ac:spMk id="11" creationId="{CCA1B1A6-90ED-F3AF-953B-47E05C413FF6}"/>
          </ac:spMkLst>
        </pc:spChg>
        <pc:spChg chg="add mod">
          <ac:chgData name="Zeno Eule" userId="2181db0d-9eef-459a-8936-2b35df8d15f4" providerId="ADAL" clId="{93B0B1BB-48AC-4F56-9A0A-FC3AA98A00A8}" dt="2024-05-15T10:00:43.632" v="1598" actId="1076"/>
          <ac:spMkLst>
            <pc:docMk/>
            <pc:sldMk cId="127659681" sldId="306"/>
            <ac:spMk id="12" creationId="{D893075F-A913-5385-5C89-0A0A6FDA0D36}"/>
          </ac:spMkLst>
        </pc:spChg>
        <pc:spChg chg="add mod">
          <ac:chgData name="Zeno Eule" userId="2181db0d-9eef-459a-8936-2b35df8d15f4" providerId="ADAL" clId="{93B0B1BB-48AC-4F56-9A0A-FC3AA98A00A8}" dt="2024-05-15T10:00:43.632" v="1598" actId="1076"/>
          <ac:spMkLst>
            <pc:docMk/>
            <pc:sldMk cId="127659681" sldId="306"/>
            <ac:spMk id="13" creationId="{CDD30432-D442-E3D8-10FB-4C91A5EA8DCF}"/>
          </ac:spMkLst>
        </pc:spChg>
        <pc:spChg chg="add mod">
          <ac:chgData name="Zeno Eule" userId="2181db0d-9eef-459a-8936-2b35df8d15f4" providerId="ADAL" clId="{93B0B1BB-48AC-4F56-9A0A-FC3AA98A00A8}" dt="2024-05-15T10:00:43.632" v="1598" actId="1076"/>
          <ac:spMkLst>
            <pc:docMk/>
            <pc:sldMk cId="127659681" sldId="306"/>
            <ac:spMk id="14" creationId="{6B360CA1-1A41-83D8-1E5B-BAAB2E3B0204}"/>
          </ac:spMkLst>
        </pc:spChg>
        <pc:spChg chg="add mod">
          <ac:chgData name="Zeno Eule" userId="2181db0d-9eef-459a-8936-2b35df8d15f4" providerId="ADAL" clId="{93B0B1BB-48AC-4F56-9A0A-FC3AA98A00A8}" dt="2024-05-15T10:00:43.632" v="1598" actId="1076"/>
          <ac:spMkLst>
            <pc:docMk/>
            <pc:sldMk cId="127659681" sldId="306"/>
            <ac:spMk id="15" creationId="{3802ECD6-1D60-B28B-50D2-A325302BDB1F}"/>
          </ac:spMkLst>
        </pc:spChg>
        <pc:spChg chg="add mod">
          <ac:chgData name="Zeno Eule" userId="2181db0d-9eef-459a-8936-2b35df8d15f4" providerId="ADAL" clId="{93B0B1BB-48AC-4F56-9A0A-FC3AA98A00A8}" dt="2024-05-15T10:04:58.020" v="1603" actId="1076"/>
          <ac:spMkLst>
            <pc:docMk/>
            <pc:sldMk cId="127659681" sldId="306"/>
            <ac:spMk id="16" creationId="{4FDC4B67-8850-40AF-9E0F-273D917B000E}"/>
          </ac:spMkLst>
        </pc:spChg>
        <pc:spChg chg="add mod">
          <ac:chgData name="Zeno Eule" userId="2181db0d-9eef-459a-8936-2b35df8d15f4" providerId="ADAL" clId="{93B0B1BB-48AC-4F56-9A0A-FC3AA98A00A8}" dt="2024-05-15T13:59:01.974" v="2836" actId="1076"/>
          <ac:spMkLst>
            <pc:docMk/>
            <pc:sldMk cId="127659681" sldId="306"/>
            <ac:spMk id="17" creationId="{1720B4EF-E560-707C-D052-50C01308F65F}"/>
          </ac:spMkLst>
        </pc:spChg>
        <pc:spChg chg="add mod">
          <ac:chgData name="Zeno Eule" userId="2181db0d-9eef-459a-8936-2b35df8d15f4" providerId="ADAL" clId="{93B0B1BB-48AC-4F56-9A0A-FC3AA98A00A8}" dt="2024-05-15T12:08:24.734" v="2440" actId="1038"/>
          <ac:spMkLst>
            <pc:docMk/>
            <pc:sldMk cId="127659681" sldId="306"/>
            <ac:spMk id="18" creationId="{230DF65A-181D-DC2C-6D47-6EFF28F20D59}"/>
          </ac:spMkLst>
        </pc:spChg>
        <pc:spChg chg="add del">
          <ac:chgData name="Zeno Eule" userId="2181db0d-9eef-459a-8936-2b35df8d15f4" providerId="ADAL" clId="{93B0B1BB-48AC-4F56-9A0A-FC3AA98A00A8}" dt="2024-05-14T12:10:54.212" v="1488" actId="478"/>
          <ac:spMkLst>
            <pc:docMk/>
            <pc:sldMk cId="127659681" sldId="306"/>
            <ac:spMk id="19" creationId="{ACB2CB8B-AF85-1D4A-F9B2-F24DA1DD72C9}"/>
          </ac:spMkLst>
        </pc:spChg>
        <pc:spChg chg="add del mod">
          <ac:chgData name="Zeno Eule" userId="2181db0d-9eef-459a-8936-2b35df8d15f4" providerId="ADAL" clId="{93B0B1BB-48AC-4F56-9A0A-FC3AA98A00A8}" dt="2024-05-14T12:11:18.475" v="1495" actId="478"/>
          <ac:spMkLst>
            <pc:docMk/>
            <pc:sldMk cId="127659681" sldId="306"/>
            <ac:spMk id="21" creationId="{6E923523-92DA-EC53-4151-2C65E76A5E51}"/>
          </ac:spMkLst>
        </pc:spChg>
        <pc:spChg chg="add mod">
          <ac:chgData name="Zeno Eule" userId="2181db0d-9eef-459a-8936-2b35df8d15f4" providerId="ADAL" clId="{93B0B1BB-48AC-4F56-9A0A-FC3AA98A00A8}" dt="2024-05-17T17:00:20.696" v="4148" actId="1036"/>
          <ac:spMkLst>
            <pc:docMk/>
            <pc:sldMk cId="127659681" sldId="306"/>
            <ac:spMk id="22" creationId="{31A6910E-39BD-85EF-0F84-961BDD48787F}"/>
          </ac:spMkLst>
        </pc:spChg>
        <pc:spChg chg="add del mod">
          <ac:chgData name="Zeno Eule" userId="2181db0d-9eef-459a-8936-2b35df8d15f4" providerId="ADAL" clId="{93B0B1BB-48AC-4F56-9A0A-FC3AA98A00A8}" dt="2024-05-14T12:11:09.724" v="1492" actId="478"/>
          <ac:spMkLst>
            <pc:docMk/>
            <pc:sldMk cId="127659681" sldId="306"/>
            <ac:spMk id="23" creationId="{5ECE4304-0D27-E905-FEF6-1549C5DD3868}"/>
          </ac:spMkLst>
        </pc:spChg>
        <pc:picChg chg="add mod">
          <ac:chgData name="Zeno Eule" userId="2181db0d-9eef-459a-8936-2b35df8d15f4" providerId="ADAL" clId="{93B0B1BB-48AC-4F56-9A0A-FC3AA98A00A8}" dt="2024-05-15T10:05:32.884" v="1613" actId="12789"/>
          <ac:picMkLst>
            <pc:docMk/>
            <pc:sldMk cId="127659681" sldId="306"/>
            <ac:picMk id="20" creationId="{DDC08C14-C528-A28A-488F-C8DB73A2AF88}"/>
          </ac:picMkLst>
        </pc:picChg>
        <pc:extLst>
          <p:ext xmlns:p="http://schemas.openxmlformats.org/presentationml/2006/main" uri="{D6D511B9-2390-475A-947B-AFAB55BFBCF1}">
            <pc226:cmChg xmlns:pc226="http://schemas.microsoft.com/office/powerpoint/2022/06/main/command" chg="del mod">
              <pc226:chgData name="Zeno Eule" userId="2181db0d-9eef-459a-8936-2b35df8d15f4" providerId="ADAL" clId="{93B0B1BB-48AC-4F56-9A0A-FC3AA98A00A8}" dt="2024-05-15T13:58:58.417" v="2834"/>
              <pc2:cmMkLst xmlns:pc2="http://schemas.microsoft.com/office/powerpoint/2019/9/main/command">
                <pc:docMk/>
                <pc:sldMk cId="127659681" sldId="306"/>
                <pc2:cmMk id="{509FCD2D-A135-C04D-BD92-C7F153B7B3DC}"/>
              </pc2:cmMkLst>
            </pc226:cmChg>
            <pc226:cmChg xmlns:pc226="http://schemas.microsoft.com/office/powerpoint/2022/06/main/command" chg="del mod">
              <pc226:chgData name="Zeno Eule" userId="2181db0d-9eef-459a-8936-2b35df8d15f4" providerId="ADAL" clId="{93B0B1BB-48AC-4F56-9A0A-FC3AA98A00A8}" dt="2024-05-15T13:58:54.901" v="2832"/>
              <pc2:cmMkLst xmlns:pc2="http://schemas.microsoft.com/office/powerpoint/2019/9/main/command">
                <pc:docMk/>
                <pc:sldMk cId="127659681" sldId="306"/>
                <pc2:cmMk id="{DEC7E840-4C69-45F9-973F-90E2E9EC199D}"/>
              </pc2:cmMkLst>
            </pc226:cmChg>
          </p:ext>
        </pc:extLst>
      </pc:sldChg>
      <pc:sldChg chg="new del">
        <pc:chgData name="Zeno Eule" userId="2181db0d-9eef-459a-8936-2b35df8d15f4" providerId="ADAL" clId="{93B0B1BB-48AC-4F56-9A0A-FC3AA98A00A8}" dt="2024-05-09T21:34:29.442" v="152" actId="47"/>
        <pc:sldMkLst>
          <pc:docMk/>
          <pc:sldMk cId="849436811" sldId="306"/>
        </pc:sldMkLst>
      </pc:sldChg>
      <pc:sldChg chg="addSp delSp modSp new mod">
        <pc:chgData name="Zeno Eule" userId="2181db0d-9eef-459a-8936-2b35df8d15f4" providerId="ADAL" clId="{93B0B1BB-48AC-4F56-9A0A-FC3AA98A00A8}" dt="2024-05-14T06:53:29.589" v="1145" actId="20577"/>
        <pc:sldMkLst>
          <pc:docMk/>
          <pc:sldMk cId="1968038587" sldId="307"/>
        </pc:sldMkLst>
        <pc:spChg chg="mod">
          <ac:chgData name="Zeno Eule" userId="2181db0d-9eef-459a-8936-2b35df8d15f4" providerId="ADAL" clId="{93B0B1BB-48AC-4F56-9A0A-FC3AA98A00A8}" dt="2024-05-13T21:46:24.143" v="1011"/>
          <ac:spMkLst>
            <pc:docMk/>
            <pc:sldMk cId="1968038587" sldId="307"/>
            <ac:spMk id="2" creationId="{7BBD94FD-B37B-9466-C761-F894B41C21C9}"/>
          </ac:spMkLst>
        </pc:spChg>
        <pc:spChg chg="mod">
          <ac:chgData name="Zeno Eule" userId="2181db0d-9eef-459a-8936-2b35df8d15f4" providerId="ADAL" clId="{93B0B1BB-48AC-4F56-9A0A-FC3AA98A00A8}" dt="2024-05-13T21:45:38.584" v="1010" actId="6549"/>
          <ac:spMkLst>
            <pc:docMk/>
            <pc:sldMk cId="1968038587" sldId="307"/>
            <ac:spMk id="3" creationId="{22261EF4-3FCD-4F6F-1379-F788F9D0D31B}"/>
          </ac:spMkLst>
        </pc:spChg>
        <pc:spChg chg="add del mod">
          <ac:chgData name="Zeno Eule" userId="2181db0d-9eef-459a-8936-2b35df8d15f4" providerId="ADAL" clId="{93B0B1BB-48AC-4F56-9A0A-FC3AA98A00A8}" dt="2024-05-13T21:38:41.592" v="939" actId="478"/>
          <ac:spMkLst>
            <pc:docMk/>
            <pc:sldMk cId="1968038587" sldId="307"/>
            <ac:spMk id="4" creationId="{4962644F-249F-CAEE-4F34-DFEFD37B6235}"/>
          </ac:spMkLst>
        </pc:spChg>
        <pc:spChg chg="add del mod">
          <ac:chgData name="Zeno Eule" userId="2181db0d-9eef-459a-8936-2b35df8d15f4" providerId="ADAL" clId="{93B0B1BB-48AC-4F56-9A0A-FC3AA98A00A8}" dt="2024-05-13T21:38:41.592" v="939" actId="478"/>
          <ac:spMkLst>
            <pc:docMk/>
            <pc:sldMk cId="1968038587" sldId="307"/>
            <ac:spMk id="5" creationId="{4DE8C031-B971-7C08-C8FF-8BB58FA2359C}"/>
          </ac:spMkLst>
        </pc:spChg>
        <pc:spChg chg="add del mod">
          <ac:chgData name="Zeno Eule" userId="2181db0d-9eef-459a-8936-2b35df8d15f4" providerId="ADAL" clId="{93B0B1BB-48AC-4F56-9A0A-FC3AA98A00A8}" dt="2024-05-13T21:38:41.592" v="939" actId="478"/>
          <ac:spMkLst>
            <pc:docMk/>
            <pc:sldMk cId="1968038587" sldId="307"/>
            <ac:spMk id="6" creationId="{E1A4D895-42B5-7DEC-3559-D3543B71E6BA}"/>
          </ac:spMkLst>
        </pc:spChg>
        <pc:spChg chg="add del mod">
          <ac:chgData name="Zeno Eule" userId="2181db0d-9eef-459a-8936-2b35df8d15f4" providerId="ADAL" clId="{93B0B1BB-48AC-4F56-9A0A-FC3AA98A00A8}" dt="2024-05-13T21:38:41.592" v="939" actId="478"/>
          <ac:spMkLst>
            <pc:docMk/>
            <pc:sldMk cId="1968038587" sldId="307"/>
            <ac:spMk id="7" creationId="{5CFB1B63-6D82-6AA4-E0C0-B9AD821BCB5A}"/>
          </ac:spMkLst>
        </pc:spChg>
        <pc:spChg chg="add del mod">
          <ac:chgData name="Zeno Eule" userId="2181db0d-9eef-459a-8936-2b35df8d15f4" providerId="ADAL" clId="{93B0B1BB-48AC-4F56-9A0A-FC3AA98A00A8}" dt="2024-05-13T21:38:35.335" v="938" actId="478"/>
          <ac:spMkLst>
            <pc:docMk/>
            <pc:sldMk cId="1968038587" sldId="307"/>
            <ac:spMk id="8" creationId="{6456AB05-D719-8F9A-54B8-BE303FE950F3}"/>
          </ac:spMkLst>
        </pc:spChg>
        <pc:spChg chg="add mod topLvl">
          <ac:chgData name="Zeno Eule" userId="2181db0d-9eef-459a-8936-2b35df8d15f4" providerId="ADAL" clId="{93B0B1BB-48AC-4F56-9A0A-FC3AA98A00A8}" dt="2024-05-14T06:53:29.589" v="1145" actId="20577"/>
          <ac:spMkLst>
            <pc:docMk/>
            <pc:sldMk cId="1968038587" sldId="307"/>
            <ac:spMk id="9" creationId="{234A2254-ABC4-2A49-AAA1-7B4992B592D0}"/>
          </ac:spMkLst>
        </pc:spChg>
        <pc:spChg chg="add mod topLvl">
          <ac:chgData name="Zeno Eule" userId="2181db0d-9eef-459a-8936-2b35df8d15f4" providerId="ADAL" clId="{93B0B1BB-48AC-4F56-9A0A-FC3AA98A00A8}" dt="2024-05-13T21:45:30.971" v="1009" actId="1076"/>
          <ac:spMkLst>
            <pc:docMk/>
            <pc:sldMk cId="1968038587" sldId="307"/>
            <ac:spMk id="10" creationId="{2E74CE5F-0592-853F-9FF5-66FA060C9920}"/>
          </ac:spMkLst>
        </pc:spChg>
        <pc:spChg chg="add del mod topLvl">
          <ac:chgData name="Zeno Eule" userId="2181db0d-9eef-459a-8936-2b35df8d15f4" providerId="ADAL" clId="{93B0B1BB-48AC-4F56-9A0A-FC3AA98A00A8}" dt="2024-05-13T21:45:30.971" v="1009" actId="1076"/>
          <ac:spMkLst>
            <pc:docMk/>
            <pc:sldMk cId="1968038587" sldId="307"/>
            <ac:spMk id="11" creationId="{67DE370C-1F5D-08A0-2B14-8DCD6D866353}"/>
          </ac:spMkLst>
        </pc:spChg>
        <pc:spChg chg="mod topLvl">
          <ac:chgData name="Zeno Eule" userId="2181db0d-9eef-459a-8936-2b35df8d15f4" providerId="ADAL" clId="{93B0B1BB-48AC-4F56-9A0A-FC3AA98A00A8}" dt="2024-05-13T21:46:49.982" v="1014" actId="1036"/>
          <ac:spMkLst>
            <pc:docMk/>
            <pc:sldMk cId="1968038587" sldId="307"/>
            <ac:spMk id="14" creationId="{4C1C65ED-D697-206B-C5A7-DBEE2DDAB355}"/>
          </ac:spMkLst>
        </pc:spChg>
        <pc:spChg chg="mod topLvl">
          <ac:chgData name="Zeno Eule" userId="2181db0d-9eef-459a-8936-2b35df8d15f4" providerId="ADAL" clId="{93B0B1BB-48AC-4F56-9A0A-FC3AA98A00A8}" dt="2024-05-13T21:45:30.971" v="1009" actId="1076"/>
          <ac:spMkLst>
            <pc:docMk/>
            <pc:sldMk cId="1968038587" sldId="307"/>
            <ac:spMk id="15" creationId="{BC6CC111-D6AD-EFD6-7E8E-5AEAAC8F5AD8}"/>
          </ac:spMkLst>
        </pc:spChg>
        <pc:spChg chg="add del mod topLvl">
          <ac:chgData name="Zeno Eule" userId="2181db0d-9eef-459a-8936-2b35df8d15f4" providerId="ADAL" clId="{93B0B1BB-48AC-4F56-9A0A-FC3AA98A00A8}" dt="2024-05-13T21:45:30.971" v="1009" actId="1076"/>
          <ac:spMkLst>
            <pc:docMk/>
            <pc:sldMk cId="1968038587" sldId="307"/>
            <ac:spMk id="16" creationId="{101A10FC-2DE6-4F99-37D7-6921396CE919}"/>
          </ac:spMkLst>
        </pc:spChg>
        <pc:spChg chg="mod topLvl">
          <ac:chgData name="Zeno Eule" userId="2181db0d-9eef-459a-8936-2b35df8d15f4" providerId="ADAL" clId="{93B0B1BB-48AC-4F56-9A0A-FC3AA98A00A8}" dt="2024-05-13T21:46:49.982" v="1014" actId="1036"/>
          <ac:spMkLst>
            <pc:docMk/>
            <pc:sldMk cId="1968038587" sldId="307"/>
            <ac:spMk id="18" creationId="{CD84C3DC-46B3-6C8E-AC55-FA76A140B218}"/>
          </ac:spMkLst>
        </pc:spChg>
        <pc:spChg chg="mod topLvl">
          <ac:chgData name="Zeno Eule" userId="2181db0d-9eef-459a-8936-2b35df8d15f4" providerId="ADAL" clId="{93B0B1BB-48AC-4F56-9A0A-FC3AA98A00A8}" dt="2024-05-13T21:45:30.971" v="1009" actId="1076"/>
          <ac:spMkLst>
            <pc:docMk/>
            <pc:sldMk cId="1968038587" sldId="307"/>
            <ac:spMk id="19" creationId="{9AE8E712-8181-9FA0-A2B0-51A6E7845251}"/>
          </ac:spMkLst>
        </pc:spChg>
        <pc:spChg chg="add del mod topLvl">
          <ac:chgData name="Zeno Eule" userId="2181db0d-9eef-459a-8936-2b35df8d15f4" providerId="ADAL" clId="{93B0B1BB-48AC-4F56-9A0A-FC3AA98A00A8}" dt="2024-05-13T21:45:30.971" v="1009" actId="1076"/>
          <ac:spMkLst>
            <pc:docMk/>
            <pc:sldMk cId="1968038587" sldId="307"/>
            <ac:spMk id="20" creationId="{937A20E7-3567-0CC3-7CDF-C5E6853F5CE0}"/>
          </ac:spMkLst>
        </pc:spChg>
        <pc:spChg chg="mod topLvl">
          <ac:chgData name="Zeno Eule" userId="2181db0d-9eef-459a-8936-2b35df8d15f4" providerId="ADAL" clId="{93B0B1BB-48AC-4F56-9A0A-FC3AA98A00A8}" dt="2024-05-13T21:46:49.982" v="1014" actId="1036"/>
          <ac:spMkLst>
            <pc:docMk/>
            <pc:sldMk cId="1968038587" sldId="307"/>
            <ac:spMk id="22" creationId="{5627AED8-8AAE-6705-BD2F-4E02E9DBE59E}"/>
          </ac:spMkLst>
        </pc:spChg>
        <pc:spChg chg="mod topLvl">
          <ac:chgData name="Zeno Eule" userId="2181db0d-9eef-459a-8936-2b35df8d15f4" providerId="ADAL" clId="{93B0B1BB-48AC-4F56-9A0A-FC3AA98A00A8}" dt="2024-05-13T21:45:30.971" v="1009" actId="1076"/>
          <ac:spMkLst>
            <pc:docMk/>
            <pc:sldMk cId="1968038587" sldId="307"/>
            <ac:spMk id="23" creationId="{FD9DD3BC-6D8D-FFC8-72D9-62DB67EB6CCB}"/>
          </ac:spMkLst>
        </pc:spChg>
        <pc:spChg chg="add del mod topLvl">
          <ac:chgData name="Zeno Eule" userId="2181db0d-9eef-459a-8936-2b35df8d15f4" providerId="ADAL" clId="{93B0B1BB-48AC-4F56-9A0A-FC3AA98A00A8}" dt="2024-05-13T21:45:30.971" v="1009" actId="1076"/>
          <ac:spMkLst>
            <pc:docMk/>
            <pc:sldMk cId="1968038587" sldId="307"/>
            <ac:spMk id="24" creationId="{F9FB5D8D-D4FB-E9C7-D199-AE62B20FA35E}"/>
          </ac:spMkLst>
        </pc:spChg>
        <pc:spChg chg="del mod topLvl">
          <ac:chgData name="Zeno Eule" userId="2181db0d-9eef-459a-8936-2b35df8d15f4" providerId="ADAL" clId="{93B0B1BB-48AC-4F56-9A0A-FC3AA98A00A8}" dt="2024-05-13T21:50:45.891" v="1049" actId="478"/>
          <ac:spMkLst>
            <pc:docMk/>
            <pc:sldMk cId="1968038587" sldId="307"/>
            <ac:spMk id="26" creationId="{F044B4E3-3675-491A-5106-9BC5EDDA4472}"/>
          </ac:spMkLst>
        </pc:spChg>
        <pc:spChg chg="del mod topLvl">
          <ac:chgData name="Zeno Eule" userId="2181db0d-9eef-459a-8936-2b35df8d15f4" providerId="ADAL" clId="{93B0B1BB-48AC-4F56-9A0A-FC3AA98A00A8}" dt="2024-05-13T21:51:24.966" v="1059" actId="478"/>
          <ac:spMkLst>
            <pc:docMk/>
            <pc:sldMk cId="1968038587" sldId="307"/>
            <ac:spMk id="27" creationId="{2D004A29-9F4F-643C-4483-E7E0C72C0A56}"/>
          </ac:spMkLst>
        </pc:spChg>
        <pc:spChg chg="add del mod topLvl">
          <ac:chgData name="Zeno Eule" userId="2181db0d-9eef-459a-8936-2b35df8d15f4" providerId="ADAL" clId="{93B0B1BB-48AC-4F56-9A0A-FC3AA98A00A8}" dt="2024-05-13T21:48:43.704" v="1029" actId="478"/>
          <ac:spMkLst>
            <pc:docMk/>
            <pc:sldMk cId="1968038587" sldId="307"/>
            <ac:spMk id="28" creationId="{858ACA16-9196-6894-4AC0-1AC109FB37E1}"/>
          </ac:spMkLst>
        </pc:spChg>
        <pc:spChg chg="add del mod">
          <ac:chgData name="Zeno Eule" userId="2181db0d-9eef-459a-8936-2b35df8d15f4" providerId="ADAL" clId="{93B0B1BB-48AC-4F56-9A0A-FC3AA98A00A8}" dt="2024-05-13T21:49:18.616" v="1032" actId="478"/>
          <ac:spMkLst>
            <pc:docMk/>
            <pc:sldMk cId="1968038587" sldId="307"/>
            <ac:spMk id="29" creationId="{0D26C9A7-1360-BC2D-E5EC-6BB539935561}"/>
          </ac:spMkLst>
        </pc:spChg>
        <pc:spChg chg="add mod">
          <ac:chgData name="Zeno Eule" userId="2181db0d-9eef-459a-8936-2b35df8d15f4" providerId="ADAL" clId="{93B0B1BB-48AC-4F56-9A0A-FC3AA98A00A8}" dt="2024-05-13T21:52:55.730" v="1083" actId="948"/>
          <ac:spMkLst>
            <pc:docMk/>
            <pc:sldMk cId="1968038587" sldId="307"/>
            <ac:spMk id="30" creationId="{7CD95045-0F00-EC62-5B76-03CB5E7C5428}"/>
          </ac:spMkLst>
        </pc:spChg>
        <pc:spChg chg="add mod">
          <ac:chgData name="Zeno Eule" userId="2181db0d-9eef-459a-8936-2b35df8d15f4" providerId="ADAL" clId="{93B0B1BB-48AC-4F56-9A0A-FC3AA98A00A8}" dt="2024-05-13T21:53:10.622" v="1085" actId="1076"/>
          <ac:spMkLst>
            <pc:docMk/>
            <pc:sldMk cId="1968038587" sldId="307"/>
            <ac:spMk id="31" creationId="{E0B5F460-27BD-F373-97FF-4E4E46B9E86F}"/>
          </ac:spMkLst>
        </pc:spChg>
        <pc:grpChg chg="add del mod">
          <ac:chgData name="Zeno Eule" userId="2181db0d-9eef-459a-8936-2b35df8d15f4" providerId="ADAL" clId="{93B0B1BB-48AC-4F56-9A0A-FC3AA98A00A8}" dt="2024-05-13T21:39:01.906" v="940" actId="165"/>
          <ac:grpSpMkLst>
            <pc:docMk/>
            <pc:sldMk cId="1968038587" sldId="307"/>
            <ac:grpSpMk id="12" creationId="{2572E410-BCEB-859F-4012-9286A10683DB}"/>
          </ac:grpSpMkLst>
        </pc:grpChg>
        <pc:grpChg chg="add del mod">
          <ac:chgData name="Zeno Eule" userId="2181db0d-9eef-459a-8936-2b35df8d15f4" providerId="ADAL" clId="{93B0B1BB-48AC-4F56-9A0A-FC3AA98A00A8}" dt="2024-05-13T21:39:01.906" v="940" actId="165"/>
          <ac:grpSpMkLst>
            <pc:docMk/>
            <pc:sldMk cId="1968038587" sldId="307"/>
            <ac:grpSpMk id="13" creationId="{A3136811-6509-F1C1-6470-3F4B22919312}"/>
          </ac:grpSpMkLst>
        </pc:grpChg>
        <pc:grpChg chg="add del mod">
          <ac:chgData name="Zeno Eule" userId="2181db0d-9eef-459a-8936-2b35df8d15f4" providerId="ADAL" clId="{93B0B1BB-48AC-4F56-9A0A-FC3AA98A00A8}" dt="2024-05-13T21:39:01.906" v="940" actId="165"/>
          <ac:grpSpMkLst>
            <pc:docMk/>
            <pc:sldMk cId="1968038587" sldId="307"/>
            <ac:grpSpMk id="17" creationId="{38DE06FE-DC1C-7D88-3FF4-E4038835FE1C}"/>
          </ac:grpSpMkLst>
        </pc:grpChg>
        <pc:grpChg chg="add del mod">
          <ac:chgData name="Zeno Eule" userId="2181db0d-9eef-459a-8936-2b35df8d15f4" providerId="ADAL" clId="{93B0B1BB-48AC-4F56-9A0A-FC3AA98A00A8}" dt="2024-05-13T21:39:01.906" v="940" actId="165"/>
          <ac:grpSpMkLst>
            <pc:docMk/>
            <pc:sldMk cId="1968038587" sldId="307"/>
            <ac:grpSpMk id="21" creationId="{D3E3FADD-DF58-61A3-A0E2-9FCA572F1EA8}"/>
          </ac:grpSpMkLst>
        </pc:grpChg>
        <pc:grpChg chg="add del mod">
          <ac:chgData name="Zeno Eule" userId="2181db0d-9eef-459a-8936-2b35df8d15f4" providerId="ADAL" clId="{93B0B1BB-48AC-4F56-9A0A-FC3AA98A00A8}" dt="2024-05-13T21:39:01.906" v="940" actId="165"/>
          <ac:grpSpMkLst>
            <pc:docMk/>
            <pc:sldMk cId="1968038587" sldId="307"/>
            <ac:grpSpMk id="25" creationId="{2C7E1DAD-13CC-324D-3394-E124F16B4FC3}"/>
          </ac:grpSpMkLst>
        </pc:grpChg>
        <pc:picChg chg="add mod">
          <ac:chgData name="Zeno Eule" userId="2181db0d-9eef-459a-8936-2b35df8d15f4" providerId="ADAL" clId="{93B0B1BB-48AC-4F56-9A0A-FC3AA98A00A8}" dt="2024-05-13T21:44:30.829" v="986" actId="1036"/>
          <ac:picMkLst>
            <pc:docMk/>
            <pc:sldMk cId="1968038587" sldId="307"/>
            <ac:picMk id="1028" creationId="{010AA5DD-8EC1-76E5-B2A0-8AA6F332E500}"/>
          </ac:picMkLst>
        </pc:picChg>
      </pc:sldChg>
      <pc:sldChg chg="modSp new del mod">
        <pc:chgData name="Zeno Eule" userId="2181db0d-9eef-459a-8936-2b35df8d15f4" providerId="ADAL" clId="{93B0B1BB-48AC-4F56-9A0A-FC3AA98A00A8}" dt="2024-05-14T06:53:49.986" v="1146" actId="47"/>
        <pc:sldMkLst>
          <pc:docMk/>
          <pc:sldMk cId="2818326826" sldId="308"/>
        </pc:sldMkLst>
        <pc:spChg chg="mod">
          <ac:chgData name="Zeno Eule" userId="2181db0d-9eef-459a-8936-2b35df8d15f4" providerId="ADAL" clId="{93B0B1BB-48AC-4F56-9A0A-FC3AA98A00A8}" dt="2024-05-13T21:53:48.125" v="1103" actId="20577"/>
          <ac:spMkLst>
            <pc:docMk/>
            <pc:sldMk cId="2818326826" sldId="308"/>
            <ac:spMk id="2" creationId="{F7857DC1-B240-2014-FF35-005F90715DFD}"/>
          </ac:spMkLst>
        </pc:spChg>
      </pc:sldChg>
      <pc:sldChg chg="modSp add mod">
        <pc:chgData name="Zeno Eule" userId="2181db0d-9eef-459a-8936-2b35df8d15f4" providerId="ADAL" clId="{93B0B1BB-48AC-4F56-9A0A-FC3AA98A00A8}" dt="2024-05-17T17:33:05.981" v="4157" actId="313"/>
        <pc:sldMkLst>
          <pc:docMk/>
          <pc:sldMk cId="645465889" sldId="309"/>
        </pc:sldMkLst>
        <pc:spChg chg="mod">
          <ac:chgData name="Zeno Eule" userId="2181db0d-9eef-459a-8936-2b35df8d15f4" providerId="ADAL" clId="{93B0B1BB-48AC-4F56-9A0A-FC3AA98A00A8}" dt="2024-05-17T17:33:05.981" v="4157" actId="313"/>
          <ac:spMkLst>
            <pc:docMk/>
            <pc:sldMk cId="645465889" sldId="309"/>
            <ac:spMk id="2" creationId="{F7857DC1-B240-2014-FF35-005F90715DFD}"/>
          </ac:spMkLst>
        </pc:spChg>
        <pc:spChg chg="mod">
          <ac:chgData name="Zeno Eule" userId="2181db0d-9eef-459a-8936-2b35df8d15f4" providerId="ADAL" clId="{93B0B1BB-48AC-4F56-9A0A-FC3AA98A00A8}" dt="2024-05-17T17:01:07.301" v="4153" actId="12788"/>
          <ac:spMkLst>
            <pc:docMk/>
            <pc:sldMk cId="645465889" sldId="309"/>
            <ac:spMk id="9" creationId="{F6BC87A6-ABCE-729D-2F20-2100937416B9}"/>
          </ac:spMkLst>
        </pc:spChg>
        <pc:spChg chg="mod">
          <ac:chgData name="Zeno Eule" userId="2181db0d-9eef-459a-8936-2b35df8d15f4" providerId="ADAL" clId="{93B0B1BB-48AC-4F56-9A0A-FC3AA98A00A8}" dt="2024-05-15T13:59:55.250" v="2855" actId="403"/>
          <ac:spMkLst>
            <pc:docMk/>
            <pc:sldMk cId="645465889" sldId="309"/>
            <ac:spMk id="11" creationId="{8998413E-21C2-E221-2254-8DC0AF18FCFB}"/>
          </ac:spMkLst>
        </pc:spChg>
        <pc:spChg chg="mod">
          <ac:chgData name="Zeno Eule" userId="2181db0d-9eef-459a-8936-2b35df8d15f4" providerId="ADAL" clId="{93B0B1BB-48AC-4F56-9A0A-FC3AA98A00A8}" dt="2024-05-15T13:59:55.250" v="2855" actId="403"/>
          <ac:spMkLst>
            <pc:docMk/>
            <pc:sldMk cId="645465889" sldId="309"/>
            <ac:spMk id="13" creationId="{35A134DE-CDE6-F7A6-EFF7-3C0FB22BA1E2}"/>
          </ac:spMkLst>
        </pc:spChg>
        <pc:spChg chg="mod">
          <ac:chgData name="Zeno Eule" userId="2181db0d-9eef-459a-8936-2b35df8d15f4" providerId="ADAL" clId="{93B0B1BB-48AC-4F56-9A0A-FC3AA98A00A8}" dt="2024-05-15T13:59:55.250" v="2855" actId="403"/>
          <ac:spMkLst>
            <pc:docMk/>
            <pc:sldMk cId="645465889" sldId="309"/>
            <ac:spMk id="15" creationId="{8C55EFBB-3CB2-0B69-E946-D76F79DE3C6A}"/>
          </ac:spMkLst>
        </pc:spChg>
        <pc:spChg chg="mod">
          <ac:chgData name="Zeno Eule" userId="2181db0d-9eef-459a-8936-2b35df8d15f4" providerId="ADAL" clId="{93B0B1BB-48AC-4F56-9A0A-FC3AA98A00A8}" dt="2024-05-15T13:59:55.250" v="2855" actId="403"/>
          <ac:spMkLst>
            <pc:docMk/>
            <pc:sldMk cId="645465889" sldId="309"/>
            <ac:spMk id="17" creationId="{B950E7AB-3B1E-6475-51E8-B45D85DC8D1D}"/>
          </ac:spMkLst>
        </pc:spChg>
        <pc:spChg chg="mod">
          <ac:chgData name="Zeno Eule" userId="2181db0d-9eef-459a-8936-2b35df8d15f4" providerId="ADAL" clId="{93B0B1BB-48AC-4F56-9A0A-FC3AA98A00A8}" dt="2024-05-15T13:59:55.250" v="2855" actId="403"/>
          <ac:spMkLst>
            <pc:docMk/>
            <pc:sldMk cId="645465889" sldId="309"/>
            <ac:spMk id="19" creationId="{F78655C6-7371-DF20-5DFF-C877DAB21A87}"/>
          </ac:spMkLst>
        </pc:spChg>
        <pc:spChg chg="mod">
          <ac:chgData name="Zeno Eule" userId="2181db0d-9eef-459a-8936-2b35df8d15f4" providerId="ADAL" clId="{93B0B1BB-48AC-4F56-9A0A-FC3AA98A00A8}" dt="2024-05-17T17:01:03.312" v="4152" actId="12788"/>
          <ac:spMkLst>
            <pc:docMk/>
            <pc:sldMk cId="645465889" sldId="309"/>
            <ac:spMk id="21" creationId="{B840AEA6-8BC2-12B2-BFEB-A36227DDB173}"/>
          </ac:spMkLst>
        </pc:spChg>
        <pc:spChg chg="mod">
          <ac:chgData name="Zeno Eule" userId="2181db0d-9eef-459a-8936-2b35df8d15f4" providerId="ADAL" clId="{93B0B1BB-48AC-4F56-9A0A-FC3AA98A00A8}" dt="2024-05-15T13:59:55.250" v="2855" actId="403"/>
          <ac:spMkLst>
            <pc:docMk/>
            <pc:sldMk cId="645465889" sldId="309"/>
            <ac:spMk id="23" creationId="{BDFEE9C9-C5AB-DF0C-D078-0E4424D3F1A9}"/>
          </ac:spMkLst>
        </pc:spChg>
        <pc:spChg chg="mod">
          <ac:chgData name="Zeno Eule" userId="2181db0d-9eef-459a-8936-2b35df8d15f4" providerId="ADAL" clId="{93B0B1BB-48AC-4F56-9A0A-FC3AA98A00A8}" dt="2024-05-15T14:00:13.191" v="2856" actId="14100"/>
          <ac:spMkLst>
            <pc:docMk/>
            <pc:sldMk cId="645465889" sldId="309"/>
            <ac:spMk id="33" creationId="{62187799-B51D-9593-34A8-2C276D8D4A7A}"/>
          </ac:spMkLst>
        </pc:spChg>
        <pc:spChg chg="mod">
          <ac:chgData name="Zeno Eule" userId="2181db0d-9eef-459a-8936-2b35df8d15f4" providerId="ADAL" clId="{93B0B1BB-48AC-4F56-9A0A-FC3AA98A00A8}" dt="2024-05-15T14:00:13.191" v="2856" actId="14100"/>
          <ac:spMkLst>
            <pc:docMk/>
            <pc:sldMk cId="645465889" sldId="309"/>
            <ac:spMk id="34" creationId="{4AB972D4-713E-470F-A7DF-C5009CE88F58}"/>
          </ac:spMkLst>
        </pc:spChg>
        <pc:spChg chg="mod">
          <ac:chgData name="Zeno Eule" userId="2181db0d-9eef-459a-8936-2b35df8d15f4" providerId="ADAL" clId="{93B0B1BB-48AC-4F56-9A0A-FC3AA98A00A8}" dt="2024-05-15T14:00:13.191" v="2856" actId="14100"/>
          <ac:spMkLst>
            <pc:docMk/>
            <pc:sldMk cId="645465889" sldId="309"/>
            <ac:spMk id="35" creationId="{684EC822-81F1-EA43-4D47-9E955879D3E9}"/>
          </ac:spMkLst>
        </pc:spChg>
        <pc:spChg chg="mod">
          <ac:chgData name="Zeno Eule" userId="2181db0d-9eef-459a-8936-2b35df8d15f4" providerId="ADAL" clId="{93B0B1BB-48AC-4F56-9A0A-FC3AA98A00A8}" dt="2024-05-15T14:00:13.191" v="2856" actId="14100"/>
          <ac:spMkLst>
            <pc:docMk/>
            <pc:sldMk cId="645465889" sldId="309"/>
            <ac:spMk id="36" creationId="{40F429D9-C594-B3E5-54DC-2DDA5ADBE2C1}"/>
          </ac:spMkLst>
        </pc:spChg>
        <pc:picChg chg="mod">
          <ac:chgData name="Zeno Eule" userId="2181db0d-9eef-459a-8936-2b35df8d15f4" providerId="ADAL" clId="{93B0B1BB-48AC-4F56-9A0A-FC3AA98A00A8}" dt="2024-05-17T17:01:14.402" v="4155" actId="12789"/>
          <ac:picMkLst>
            <pc:docMk/>
            <pc:sldMk cId="645465889" sldId="309"/>
            <ac:picMk id="18" creationId="{50E8D432-F503-B872-AFA2-F9333450859C}"/>
          </ac:picMkLst>
        </pc:picChg>
        <pc:picChg chg="mod">
          <ac:chgData name="Zeno Eule" userId="2181db0d-9eef-459a-8936-2b35df8d15f4" providerId="ADAL" clId="{93B0B1BB-48AC-4F56-9A0A-FC3AA98A00A8}" dt="2024-05-17T17:01:14.402" v="4155" actId="12789"/>
          <ac:picMkLst>
            <pc:docMk/>
            <pc:sldMk cId="645465889" sldId="309"/>
            <ac:picMk id="20" creationId="{5CCC2BBE-D27A-D6BA-7F5D-982AB78804CD}"/>
          </ac:picMkLst>
        </pc:picChg>
        <pc:picChg chg="mod">
          <ac:chgData name="Zeno Eule" userId="2181db0d-9eef-459a-8936-2b35df8d15f4" providerId="ADAL" clId="{93B0B1BB-48AC-4F56-9A0A-FC3AA98A00A8}" dt="2024-05-17T17:01:14.402" v="4155" actId="12789"/>
          <ac:picMkLst>
            <pc:docMk/>
            <pc:sldMk cId="645465889" sldId="309"/>
            <ac:picMk id="22" creationId="{F302A94F-1A75-9014-99F0-556919CE19DE}"/>
          </ac:picMkLst>
        </pc:picChg>
        <pc:picChg chg="mod">
          <ac:chgData name="Zeno Eule" userId="2181db0d-9eef-459a-8936-2b35df8d15f4" providerId="ADAL" clId="{93B0B1BB-48AC-4F56-9A0A-FC3AA98A00A8}" dt="2024-05-17T17:01:14.402" v="4155" actId="12789"/>
          <ac:picMkLst>
            <pc:docMk/>
            <pc:sldMk cId="645465889" sldId="309"/>
            <ac:picMk id="24" creationId="{731C6BA7-18CC-7449-8CE6-462FB7B21BFA}"/>
          </ac:picMkLst>
        </pc:picChg>
      </pc:sldChg>
      <pc:sldChg chg="delSp modSp mod">
        <pc:chgData name="Zeno Eule" userId="2181db0d-9eef-459a-8936-2b35df8d15f4" providerId="ADAL" clId="{93B0B1BB-48AC-4F56-9A0A-FC3AA98A00A8}" dt="2024-05-17T12:57:02.470" v="2890" actId="478"/>
        <pc:sldMkLst>
          <pc:docMk/>
          <pc:sldMk cId="3250682429" sldId="310"/>
        </pc:sldMkLst>
        <pc:spChg chg="del mod">
          <ac:chgData name="Zeno Eule" userId="2181db0d-9eef-459a-8936-2b35df8d15f4" providerId="ADAL" clId="{93B0B1BB-48AC-4F56-9A0A-FC3AA98A00A8}" dt="2024-05-17T12:57:02.470" v="2890" actId="478"/>
          <ac:spMkLst>
            <pc:docMk/>
            <pc:sldMk cId="3250682429" sldId="310"/>
            <ac:spMk id="5" creationId="{A14697F0-7652-2230-EEF7-6D93A4AE9FCB}"/>
          </ac:spMkLst>
        </pc:spChg>
      </pc:sldChg>
      <pc:sldChg chg="addSp delSp modSp mod">
        <pc:chgData name="Zeno Eule" userId="2181db0d-9eef-459a-8936-2b35df8d15f4" providerId="ADAL" clId="{93B0B1BB-48AC-4F56-9A0A-FC3AA98A00A8}" dt="2024-05-17T13:51:45.342" v="2981" actId="13926"/>
        <pc:sldMkLst>
          <pc:docMk/>
          <pc:sldMk cId="147093149" sldId="312"/>
        </pc:sldMkLst>
        <pc:spChg chg="mod ord">
          <ac:chgData name="Zeno Eule" userId="2181db0d-9eef-459a-8936-2b35df8d15f4" providerId="ADAL" clId="{93B0B1BB-48AC-4F56-9A0A-FC3AA98A00A8}" dt="2024-05-15T13:50:59.584" v="2748"/>
          <ac:spMkLst>
            <pc:docMk/>
            <pc:sldMk cId="147093149" sldId="312"/>
            <ac:spMk id="2" creationId="{89DFD32D-6508-96B2-E7B9-0B50D3FAB32B}"/>
          </ac:spMkLst>
        </pc:spChg>
        <pc:spChg chg="mod ord">
          <ac:chgData name="Zeno Eule" userId="2181db0d-9eef-459a-8936-2b35df8d15f4" providerId="ADAL" clId="{93B0B1BB-48AC-4F56-9A0A-FC3AA98A00A8}" dt="2024-05-15T13:50:59.587" v="2750"/>
          <ac:spMkLst>
            <pc:docMk/>
            <pc:sldMk cId="147093149" sldId="312"/>
            <ac:spMk id="3" creationId="{6D589C28-4250-EB81-2BF8-21E0B631118C}"/>
          </ac:spMkLst>
        </pc:spChg>
        <pc:spChg chg="add mod ord topLvl">
          <ac:chgData name="Zeno Eule" userId="2181db0d-9eef-459a-8936-2b35df8d15f4" providerId="ADAL" clId="{93B0B1BB-48AC-4F56-9A0A-FC3AA98A00A8}" dt="2024-05-15T13:50:59.587" v="2752"/>
          <ac:spMkLst>
            <pc:docMk/>
            <pc:sldMk cId="147093149" sldId="312"/>
            <ac:spMk id="4" creationId="{DB78829A-52B2-01F6-3DA7-84C0D6CF7051}"/>
          </ac:spMkLst>
        </pc:spChg>
        <pc:spChg chg="add mod ord topLvl">
          <ac:chgData name="Zeno Eule" userId="2181db0d-9eef-459a-8936-2b35df8d15f4" providerId="ADAL" clId="{93B0B1BB-48AC-4F56-9A0A-FC3AA98A00A8}" dt="2024-05-15T13:53:41.194" v="2827" actId="408"/>
          <ac:spMkLst>
            <pc:docMk/>
            <pc:sldMk cId="147093149" sldId="312"/>
            <ac:spMk id="5" creationId="{D460FF20-70B3-8B59-C320-67A1E61DFB74}"/>
          </ac:spMkLst>
        </pc:spChg>
        <pc:spChg chg="add del mod">
          <ac:chgData name="Zeno Eule" userId="2181db0d-9eef-459a-8936-2b35df8d15f4" providerId="ADAL" clId="{93B0B1BB-48AC-4F56-9A0A-FC3AA98A00A8}" dt="2024-05-15T11:33:02.809" v="1731" actId="478"/>
          <ac:spMkLst>
            <pc:docMk/>
            <pc:sldMk cId="147093149" sldId="312"/>
            <ac:spMk id="6" creationId="{83490B63-9D7B-3CE5-BB00-30AD59951EA5}"/>
          </ac:spMkLst>
        </pc:spChg>
        <pc:spChg chg="add mod ord">
          <ac:chgData name="Zeno Eule" userId="2181db0d-9eef-459a-8936-2b35df8d15f4" providerId="ADAL" clId="{93B0B1BB-48AC-4F56-9A0A-FC3AA98A00A8}" dt="2024-05-15T13:58:30.057" v="2830" actId="14100"/>
          <ac:spMkLst>
            <pc:docMk/>
            <pc:sldMk cId="147093149" sldId="312"/>
            <ac:spMk id="6" creationId="{D35207DA-DB1F-0464-D0FA-C3A6AE55EB6A}"/>
          </ac:spMkLst>
        </pc:spChg>
        <pc:spChg chg="add mod ord topLvl">
          <ac:chgData name="Zeno Eule" userId="2181db0d-9eef-459a-8936-2b35df8d15f4" providerId="ADAL" clId="{93B0B1BB-48AC-4F56-9A0A-FC3AA98A00A8}" dt="2024-05-15T13:50:59.587" v="2754"/>
          <ac:spMkLst>
            <pc:docMk/>
            <pc:sldMk cId="147093149" sldId="312"/>
            <ac:spMk id="7" creationId="{A0EB7227-34E4-1B22-73EF-A976BB1E46C2}"/>
          </ac:spMkLst>
        </pc:spChg>
        <pc:spChg chg="add del mod">
          <ac:chgData name="Zeno Eule" userId="2181db0d-9eef-459a-8936-2b35df8d15f4" providerId="ADAL" clId="{93B0B1BB-48AC-4F56-9A0A-FC3AA98A00A8}" dt="2024-05-15T11:41:12.346" v="2012" actId="478"/>
          <ac:spMkLst>
            <pc:docMk/>
            <pc:sldMk cId="147093149" sldId="312"/>
            <ac:spMk id="8" creationId="{477C2E5B-32A2-FDE5-9371-D162033F1105}"/>
          </ac:spMkLst>
        </pc:spChg>
        <pc:spChg chg="add mod ord topLvl">
          <ac:chgData name="Zeno Eule" userId="2181db0d-9eef-459a-8936-2b35df8d15f4" providerId="ADAL" clId="{93B0B1BB-48AC-4F56-9A0A-FC3AA98A00A8}" dt="2024-05-15T13:50:59.587" v="2756"/>
          <ac:spMkLst>
            <pc:docMk/>
            <pc:sldMk cId="147093149" sldId="312"/>
            <ac:spMk id="9" creationId="{5355AB66-D5B1-5D4A-5538-7734AC7E118B}"/>
          </ac:spMkLst>
        </pc:spChg>
        <pc:spChg chg="add mod ord topLvl">
          <ac:chgData name="Zeno Eule" userId="2181db0d-9eef-459a-8936-2b35df8d15f4" providerId="ADAL" clId="{93B0B1BB-48AC-4F56-9A0A-FC3AA98A00A8}" dt="2024-05-15T13:50:59.589" v="2758"/>
          <ac:spMkLst>
            <pc:docMk/>
            <pc:sldMk cId="147093149" sldId="312"/>
            <ac:spMk id="10" creationId="{C171FA25-6C71-B40C-A418-72AA2CFAEAF8}"/>
          </ac:spMkLst>
        </pc:spChg>
        <pc:spChg chg="add mod ord topLvl">
          <ac:chgData name="Zeno Eule" userId="2181db0d-9eef-459a-8936-2b35df8d15f4" providerId="ADAL" clId="{93B0B1BB-48AC-4F56-9A0A-FC3AA98A00A8}" dt="2024-05-15T13:53:41.194" v="2827" actId="408"/>
          <ac:spMkLst>
            <pc:docMk/>
            <pc:sldMk cId="147093149" sldId="312"/>
            <ac:spMk id="11" creationId="{5500EF37-17F7-4892-EA6E-FD64A4AB30A8}"/>
          </ac:spMkLst>
        </pc:spChg>
        <pc:spChg chg="add mod ord topLvl">
          <ac:chgData name="Zeno Eule" userId="2181db0d-9eef-459a-8936-2b35df8d15f4" providerId="ADAL" clId="{93B0B1BB-48AC-4F56-9A0A-FC3AA98A00A8}" dt="2024-05-15T13:50:59.589" v="2760"/>
          <ac:spMkLst>
            <pc:docMk/>
            <pc:sldMk cId="147093149" sldId="312"/>
            <ac:spMk id="12" creationId="{B17888B0-8B6A-BEAE-0791-C548FDA65008}"/>
          </ac:spMkLst>
        </pc:spChg>
        <pc:spChg chg="add mod ord">
          <ac:chgData name="Zeno Eule" userId="2181db0d-9eef-459a-8936-2b35df8d15f4" providerId="ADAL" clId="{93B0B1BB-48AC-4F56-9A0A-FC3AA98A00A8}" dt="2024-05-15T13:58:30.057" v="2830" actId="14100"/>
          <ac:spMkLst>
            <pc:docMk/>
            <pc:sldMk cId="147093149" sldId="312"/>
            <ac:spMk id="13" creationId="{485810BB-492C-C08D-421F-E1380FD62075}"/>
          </ac:spMkLst>
        </pc:spChg>
        <pc:spChg chg="add del mod topLvl">
          <ac:chgData name="Zeno Eule" userId="2181db0d-9eef-459a-8936-2b35df8d15f4" providerId="ADAL" clId="{93B0B1BB-48AC-4F56-9A0A-FC3AA98A00A8}" dt="2024-05-15T11:41:28.449" v="2015" actId="478"/>
          <ac:spMkLst>
            <pc:docMk/>
            <pc:sldMk cId="147093149" sldId="312"/>
            <ac:spMk id="13" creationId="{D078E6CA-E781-A4E5-05C7-3A11C50D0190}"/>
          </ac:spMkLst>
        </pc:spChg>
        <pc:spChg chg="add mod ord topLvl">
          <ac:chgData name="Zeno Eule" userId="2181db0d-9eef-459a-8936-2b35df8d15f4" providerId="ADAL" clId="{93B0B1BB-48AC-4F56-9A0A-FC3AA98A00A8}" dt="2024-05-15T13:50:59.589" v="2762"/>
          <ac:spMkLst>
            <pc:docMk/>
            <pc:sldMk cId="147093149" sldId="312"/>
            <ac:spMk id="14" creationId="{335B7DEC-88C8-6705-A199-25E6328D94F9}"/>
          </ac:spMkLst>
        </pc:spChg>
        <pc:spChg chg="add mod ord topLvl">
          <ac:chgData name="Zeno Eule" userId="2181db0d-9eef-459a-8936-2b35df8d15f4" providerId="ADAL" clId="{93B0B1BB-48AC-4F56-9A0A-FC3AA98A00A8}" dt="2024-05-15T13:50:59.589" v="2764"/>
          <ac:spMkLst>
            <pc:docMk/>
            <pc:sldMk cId="147093149" sldId="312"/>
            <ac:spMk id="15" creationId="{734D178E-987E-95F8-E926-B84B13AF2C8E}"/>
          </ac:spMkLst>
        </pc:spChg>
        <pc:spChg chg="add mod ord topLvl">
          <ac:chgData name="Zeno Eule" userId="2181db0d-9eef-459a-8936-2b35df8d15f4" providerId="ADAL" clId="{93B0B1BB-48AC-4F56-9A0A-FC3AA98A00A8}" dt="2024-05-15T13:50:59.584" v="2744"/>
          <ac:spMkLst>
            <pc:docMk/>
            <pc:sldMk cId="147093149" sldId="312"/>
            <ac:spMk id="16" creationId="{3A488780-7A6E-2E0E-9225-3344CD2BD06F}"/>
          </ac:spMkLst>
        </pc:spChg>
        <pc:spChg chg="add mod ord topLvl">
          <ac:chgData name="Zeno Eule" userId="2181db0d-9eef-459a-8936-2b35df8d15f4" providerId="ADAL" clId="{93B0B1BB-48AC-4F56-9A0A-FC3AA98A00A8}" dt="2024-05-15T13:50:59.590" v="2766"/>
          <ac:spMkLst>
            <pc:docMk/>
            <pc:sldMk cId="147093149" sldId="312"/>
            <ac:spMk id="17" creationId="{4536F71E-86FC-BE6B-4853-3135AC17B231}"/>
          </ac:spMkLst>
        </pc:spChg>
        <pc:spChg chg="add mod ord topLvl">
          <ac:chgData name="Zeno Eule" userId="2181db0d-9eef-459a-8936-2b35df8d15f4" providerId="ADAL" clId="{93B0B1BB-48AC-4F56-9A0A-FC3AA98A00A8}" dt="2024-05-15T13:50:59.590" v="2768"/>
          <ac:spMkLst>
            <pc:docMk/>
            <pc:sldMk cId="147093149" sldId="312"/>
            <ac:spMk id="18" creationId="{5701892C-11B7-5E73-77F4-A214F8DE2A45}"/>
          </ac:spMkLst>
        </pc:spChg>
        <pc:spChg chg="add del mod">
          <ac:chgData name="Zeno Eule" userId="2181db0d-9eef-459a-8936-2b35df8d15f4" providerId="ADAL" clId="{93B0B1BB-48AC-4F56-9A0A-FC3AA98A00A8}" dt="2024-05-15T11:41:06.145" v="2011" actId="478"/>
          <ac:spMkLst>
            <pc:docMk/>
            <pc:sldMk cId="147093149" sldId="312"/>
            <ac:spMk id="19" creationId="{A198A459-2CF1-1A5A-1F29-A0CF94DFC1E6}"/>
          </ac:spMkLst>
        </pc:spChg>
        <pc:spChg chg="add mod ord">
          <ac:chgData name="Zeno Eule" userId="2181db0d-9eef-459a-8936-2b35df8d15f4" providerId="ADAL" clId="{93B0B1BB-48AC-4F56-9A0A-FC3AA98A00A8}" dt="2024-05-17T13:28:59.236" v="2973" actId="14100"/>
          <ac:spMkLst>
            <pc:docMk/>
            <pc:sldMk cId="147093149" sldId="312"/>
            <ac:spMk id="19" creationId="{A49ACF58-1D01-1800-24D6-39983D3EE8D2}"/>
          </ac:spMkLst>
        </pc:spChg>
        <pc:spChg chg="add mod ord topLvl">
          <ac:chgData name="Zeno Eule" userId="2181db0d-9eef-459a-8936-2b35df8d15f4" providerId="ADAL" clId="{93B0B1BB-48AC-4F56-9A0A-FC3AA98A00A8}" dt="2024-05-16T20:04:01.981" v="2857" actId="14100"/>
          <ac:spMkLst>
            <pc:docMk/>
            <pc:sldMk cId="147093149" sldId="312"/>
            <ac:spMk id="20" creationId="{4E3EA5A1-22C8-24D9-4888-0E0FA049603F}"/>
          </ac:spMkLst>
        </pc:spChg>
        <pc:spChg chg="add mod ord topLvl">
          <ac:chgData name="Zeno Eule" userId="2181db0d-9eef-459a-8936-2b35df8d15f4" providerId="ADAL" clId="{93B0B1BB-48AC-4F56-9A0A-FC3AA98A00A8}" dt="2024-05-15T13:50:59.584" v="2746"/>
          <ac:spMkLst>
            <pc:docMk/>
            <pc:sldMk cId="147093149" sldId="312"/>
            <ac:spMk id="21" creationId="{78DC9976-6234-D11E-70A1-B1EA8DD9275E}"/>
          </ac:spMkLst>
        </pc:spChg>
        <pc:spChg chg="add mod ord topLvl">
          <ac:chgData name="Zeno Eule" userId="2181db0d-9eef-459a-8936-2b35df8d15f4" providerId="ADAL" clId="{93B0B1BB-48AC-4F56-9A0A-FC3AA98A00A8}" dt="2024-05-15T13:50:59.590" v="2772"/>
          <ac:spMkLst>
            <pc:docMk/>
            <pc:sldMk cId="147093149" sldId="312"/>
            <ac:spMk id="22" creationId="{7205E1AE-7522-401F-AE4B-E4809D85D667}"/>
          </ac:spMkLst>
        </pc:spChg>
        <pc:spChg chg="add del mod topLvl">
          <ac:chgData name="Zeno Eule" userId="2181db0d-9eef-459a-8936-2b35df8d15f4" providerId="ADAL" clId="{93B0B1BB-48AC-4F56-9A0A-FC3AA98A00A8}" dt="2024-05-15T11:41:37.388" v="2016" actId="478"/>
          <ac:spMkLst>
            <pc:docMk/>
            <pc:sldMk cId="147093149" sldId="312"/>
            <ac:spMk id="23" creationId="{50FBC0B2-DE3D-9F3C-E00A-6F293733C291}"/>
          </ac:spMkLst>
        </pc:spChg>
        <pc:spChg chg="add mod ord topLvl">
          <ac:chgData name="Zeno Eule" userId="2181db0d-9eef-459a-8936-2b35df8d15f4" providerId="ADAL" clId="{93B0B1BB-48AC-4F56-9A0A-FC3AA98A00A8}" dt="2024-05-17T13:51:45.342" v="2981" actId="13926"/>
          <ac:spMkLst>
            <pc:docMk/>
            <pc:sldMk cId="147093149" sldId="312"/>
            <ac:spMk id="24" creationId="{CF475912-4470-539A-ABD4-54DA63EA2FAA}"/>
          </ac:spMkLst>
        </pc:spChg>
        <pc:spChg chg="mod ord topLvl">
          <ac:chgData name="Zeno Eule" userId="2181db0d-9eef-459a-8936-2b35df8d15f4" providerId="ADAL" clId="{93B0B1BB-48AC-4F56-9A0A-FC3AA98A00A8}" dt="2024-05-15T13:50:59.590" v="2776"/>
          <ac:spMkLst>
            <pc:docMk/>
            <pc:sldMk cId="147093149" sldId="312"/>
            <ac:spMk id="30" creationId="{406FE430-202B-0FA3-300C-F640E7AA5737}"/>
          </ac:spMkLst>
        </pc:spChg>
        <pc:spChg chg="mod ord topLvl">
          <ac:chgData name="Zeno Eule" userId="2181db0d-9eef-459a-8936-2b35df8d15f4" providerId="ADAL" clId="{93B0B1BB-48AC-4F56-9A0A-FC3AA98A00A8}" dt="2024-05-15T13:51:47.358" v="2815" actId="554"/>
          <ac:spMkLst>
            <pc:docMk/>
            <pc:sldMk cId="147093149" sldId="312"/>
            <ac:spMk id="31" creationId="{132BF52C-3DD4-6A5A-50EC-C7BB949CC9B5}"/>
          </ac:spMkLst>
        </pc:spChg>
        <pc:spChg chg="mod ord topLvl">
          <ac:chgData name="Zeno Eule" userId="2181db0d-9eef-459a-8936-2b35df8d15f4" providerId="ADAL" clId="{93B0B1BB-48AC-4F56-9A0A-FC3AA98A00A8}" dt="2024-05-15T13:50:59.590" v="2778"/>
          <ac:spMkLst>
            <pc:docMk/>
            <pc:sldMk cId="147093149" sldId="312"/>
            <ac:spMk id="32" creationId="{FA63270D-6EB6-DA27-B904-6578170779A8}"/>
          </ac:spMkLst>
        </pc:spChg>
        <pc:spChg chg="mod ord topLvl">
          <ac:chgData name="Zeno Eule" userId="2181db0d-9eef-459a-8936-2b35df8d15f4" providerId="ADAL" clId="{93B0B1BB-48AC-4F56-9A0A-FC3AA98A00A8}" dt="2024-05-15T13:50:59.584" v="2738"/>
          <ac:spMkLst>
            <pc:docMk/>
            <pc:sldMk cId="147093149" sldId="312"/>
            <ac:spMk id="33" creationId="{8A0DB2FA-0E6A-532A-1130-98D02AEBF57B}"/>
          </ac:spMkLst>
        </pc:spChg>
        <pc:spChg chg="del mod topLvl">
          <ac:chgData name="Zeno Eule" userId="2181db0d-9eef-459a-8936-2b35df8d15f4" providerId="ADAL" clId="{93B0B1BB-48AC-4F56-9A0A-FC3AA98A00A8}" dt="2024-05-15T11:42:17.130" v="2019" actId="478"/>
          <ac:spMkLst>
            <pc:docMk/>
            <pc:sldMk cId="147093149" sldId="312"/>
            <ac:spMk id="34" creationId="{3A7C4E3D-7421-DC6C-8859-3A1FDD8B84C6}"/>
          </ac:spMkLst>
        </pc:spChg>
        <pc:spChg chg="add mod ord">
          <ac:chgData name="Zeno Eule" userId="2181db0d-9eef-459a-8936-2b35df8d15f4" providerId="ADAL" clId="{93B0B1BB-48AC-4F56-9A0A-FC3AA98A00A8}" dt="2024-05-15T13:50:59.590" v="2784"/>
          <ac:spMkLst>
            <pc:docMk/>
            <pc:sldMk cId="147093149" sldId="312"/>
            <ac:spMk id="40" creationId="{7C7F735B-8C58-674F-136E-A353AC0A85D7}"/>
          </ac:spMkLst>
        </pc:spChg>
        <pc:spChg chg="add mod">
          <ac:chgData name="Zeno Eule" userId="2181db0d-9eef-459a-8936-2b35df8d15f4" providerId="ADAL" clId="{93B0B1BB-48AC-4F56-9A0A-FC3AA98A00A8}" dt="2024-05-15T12:06:13.660" v="2396" actId="571"/>
          <ac:spMkLst>
            <pc:docMk/>
            <pc:sldMk cId="147093149" sldId="312"/>
            <ac:spMk id="41" creationId="{8EC08E38-704A-F09A-6987-8B2223F0B436}"/>
          </ac:spMkLst>
        </pc:spChg>
        <pc:spChg chg="add mod">
          <ac:chgData name="Zeno Eule" userId="2181db0d-9eef-459a-8936-2b35df8d15f4" providerId="ADAL" clId="{93B0B1BB-48AC-4F56-9A0A-FC3AA98A00A8}" dt="2024-05-15T12:06:13.660" v="2396" actId="571"/>
          <ac:spMkLst>
            <pc:docMk/>
            <pc:sldMk cId="147093149" sldId="312"/>
            <ac:spMk id="42" creationId="{B8D9AA39-6280-8D0B-1055-60E9CFBDA9F9}"/>
          </ac:spMkLst>
        </pc:spChg>
        <pc:spChg chg="add mod">
          <ac:chgData name="Zeno Eule" userId="2181db0d-9eef-459a-8936-2b35df8d15f4" providerId="ADAL" clId="{93B0B1BB-48AC-4F56-9A0A-FC3AA98A00A8}" dt="2024-05-15T12:06:13.660" v="2396" actId="571"/>
          <ac:spMkLst>
            <pc:docMk/>
            <pc:sldMk cId="147093149" sldId="312"/>
            <ac:spMk id="43" creationId="{E7823E1E-F484-8D73-81C6-2837F2192B23}"/>
          </ac:spMkLst>
        </pc:spChg>
        <pc:spChg chg="add mod">
          <ac:chgData name="Zeno Eule" userId="2181db0d-9eef-459a-8936-2b35df8d15f4" providerId="ADAL" clId="{93B0B1BB-48AC-4F56-9A0A-FC3AA98A00A8}" dt="2024-05-15T12:06:13.660" v="2396" actId="571"/>
          <ac:spMkLst>
            <pc:docMk/>
            <pc:sldMk cId="147093149" sldId="312"/>
            <ac:spMk id="44" creationId="{8DFA24EE-D627-4BA9-ADFB-A0028FCB9673}"/>
          </ac:spMkLst>
        </pc:spChg>
        <pc:spChg chg="add mod">
          <ac:chgData name="Zeno Eule" userId="2181db0d-9eef-459a-8936-2b35df8d15f4" providerId="ADAL" clId="{93B0B1BB-48AC-4F56-9A0A-FC3AA98A00A8}" dt="2024-05-15T12:06:13.660" v="2396" actId="571"/>
          <ac:spMkLst>
            <pc:docMk/>
            <pc:sldMk cId="147093149" sldId="312"/>
            <ac:spMk id="45" creationId="{4C74E74E-0404-19A6-3EA8-E7216C207E73}"/>
          </ac:spMkLst>
        </pc:spChg>
        <pc:spChg chg="add mod ord">
          <ac:chgData name="Zeno Eule" userId="2181db0d-9eef-459a-8936-2b35df8d15f4" providerId="ADAL" clId="{93B0B1BB-48AC-4F56-9A0A-FC3AA98A00A8}" dt="2024-05-15T13:50:59.590" v="2786"/>
          <ac:spMkLst>
            <pc:docMk/>
            <pc:sldMk cId="147093149" sldId="312"/>
            <ac:spMk id="46" creationId="{2C5F95BF-70F2-08C9-BE9D-02B9B81A8F56}"/>
          </ac:spMkLst>
        </pc:spChg>
        <pc:spChg chg="add mod ord">
          <ac:chgData name="Zeno Eule" userId="2181db0d-9eef-459a-8936-2b35df8d15f4" providerId="ADAL" clId="{93B0B1BB-48AC-4F56-9A0A-FC3AA98A00A8}" dt="2024-05-15T13:50:59.590" v="2788"/>
          <ac:spMkLst>
            <pc:docMk/>
            <pc:sldMk cId="147093149" sldId="312"/>
            <ac:spMk id="47" creationId="{45E19E11-0866-C8B4-34DF-B01960CFBC2C}"/>
          </ac:spMkLst>
        </pc:spChg>
        <pc:grpChg chg="add del mod">
          <ac:chgData name="Zeno Eule" userId="2181db0d-9eef-459a-8936-2b35df8d15f4" providerId="ADAL" clId="{93B0B1BB-48AC-4F56-9A0A-FC3AA98A00A8}" dt="2024-05-15T11:41:20.286" v="2013" actId="165"/>
          <ac:grpSpMkLst>
            <pc:docMk/>
            <pc:sldMk cId="147093149" sldId="312"/>
            <ac:grpSpMk id="25" creationId="{3212391E-91A4-25A8-4755-B26DDE6FCEDC}"/>
          </ac:grpSpMkLst>
        </pc:grpChg>
        <pc:grpChg chg="add del mod">
          <ac:chgData name="Zeno Eule" userId="2181db0d-9eef-459a-8936-2b35df8d15f4" providerId="ADAL" clId="{93B0B1BB-48AC-4F56-9A0A-FC3AA98A00A8}" dt="2024-05-15T11:41:20.286" v="2013" actId="165"/>
          <ac:grpSpMkLst>
            <pc:docMk/>
            <pc:sldMk cId="147093149" sldId="312"/>
            <ac:grpSpMk id="26" creationId="{393CF351-F0AF-AD7C-298B-952AD1C055BB}"/>
          </ac:grpSpMkLst>
        </pc:grpChg>
        <pc:grpChg chg="add del mod">
          <ac:chgData name="Zeno Eule" userId="2181db0d-9eef-459a-8936-2b35df8d15f4" providerId="ADAL" clId="{93B0B1BB-48AC-4F56-9A0A-FC3AA98A00A8}" dt="2024-05-15T11:41:20.286" v="2013" actId="165"/>
          <ac:grpSpMkLst>
            <pc:docMk/>
            <pc:sldMk cId="147093149" sldId="312"/>
            <ac:grpSpMk id="27" creationId="{7C12D846-B2A7-66E2-0A10-785EA47C2686}"/>
          </ac:grpSpMkLst>
        </pc:grpChg>
        <pc:grpChg chg="add del mod">
          <ac:chgData name="Zeno Eule" userId="2181db0d-9eef-459a-8936-2b35df8d15f4" providerId="ADAL" clId="{93B0B1BB-48AC-4F56-9A0A-FC3AA98A00A8}" dt="2024-05-15T11:41:20.286" v="2013" actId="165"/>
          <ac:grpSpMkLst>
            <pc:docMk/>
            <pc:sldMk cId="147093149" sldId="312"/>
            <ac:grpSpMk id="28" creationId="{4A6B6A1F-7535-A1A9-AC2E-D8013C81EAD0}"/>
          </ac:grpSpMkLst>
        </pc:grpChg>
        <pc:grpChg chg="add del mod">
          <ac:chgData name="Zeno Eule" userId="2181db0d-9eef-459a-8936-2b35df8d15f4" providerId="ADAL" clId="{93B0B1BB-48AC-4F56-9A0A-FC3AA98A00A8}" dt="2024-05-15T11:41:20.286" v="2013" actId="165"/>
          <ac:grpSpMkLst>
            <pc:docMk/>
            <pc:sldMk cId="147093149" sldId="312"/>
            <ac:grpSpMk id="29" creationId="{791918E8-45DA-A8A1-1E88-2C4BA68FB87C}"/>
          </ac:grpSpMkLst>
        </pc:grpChg>
        <pc:graphicFrameChg chg="add mod ord modVis replST">
          <ac:chgData name="Zeno Eule" userId="2181db0d-9eef-459a-8936-2b35df8d15f4" providerId="ADAL" clId="{93B0B1BB-48AC-4F56-9A0A-FC3AA98A00A8}" dt="2024-05-15T13:50:59.596" v="2798"/>
          <ac:graphicFrameMkLst>
            <pc:docMk/>
            <pc:sldMk cId="147093149" sldId="312"/>
            <ac:graphicFrameMk id="39" creationId="{A14E115A-F275-DEF6-3FD2-67E1DDE8F611}"/>
          </ac:graphicFrameMkLst>
        </pc:graphicFrameChg>
        <pc:cxnChg chg="add mod ord">
          <ac:chgData name="Zeno Eule" userId="2181db0d-9eef-459a-8936-2b35df8d15f4" providerId="ADAL" clId="{93B0B1BB-48AC-4F56-9A0A-FC3AA98A00A8}" dt="2024-05-15T13:50:59.590" v="2792"/>
          <ac:cxnSpMkLst>
            <pc:docMk/>
            <pc:sldMk cId="147093149" sldId="312"/>
            <ac:cxnSpMk id="8" creationId="{AC074316-9A1D-793D-42D2-5EF2C49A8B16}"/>
          </ac:cxnSpMkLst>
        </pc:cxnChg>
        <pc:cxnChg chg="add mod">
          <ac:chgData name="Zeno Eule" userId="2181db0d-9eef-459a-8936-2b35df8d15f4" providerId="ADAL" clId="{93B0B1BB-48AC-4F56-9A0A-FC3AA98A00A8}" dt="2024-05-15T13:53:41.194" v="2827" actId="408"/>
          <ac:cxnSpMkLst>
            <pc:docMk/>
            <pc:sldMk cId="147093149" sldId="312"/>
            <ac:cxnSpMk id="25" creationId="{D3D66B63-42E4-91A9-FE39-090A8AA58BEF}"/>
          </ac:cxnSpMkLst>
        </pc:cxnChg>
        <pc:cxnChg chg="add mod">
          <ac:chgData name="Zeno Eule" userId="2181db0d-9eef-459a-8936-2b35df8d15f4" providerId="ADAL" clId="{93B0B1BB-48AC-4F56-9A0A-FC3AA98A00A8}" dt="2024-05-15T13:53:41.194" v="2827" actId="408"/>
          <ac:cxnSpMkLst>
            <pc:docMk/>
            <pc:sldMk cId="147093149" sldId="312"/>
            <ac:cxnSpMk id="27" creationId="{3A44C213-7644-17B7-F61F-B2E890C67440}"/>
          </ac:cxnSpMkLst>
        </pc:cxnChg>
        <pc:cxnChg chg="add mod">
          <ac:chgData name="Zeno Eule" userId="2181db0d-9eef-459a-8936-2b35df8d15f4" providerId="ADAL" clId="{93B0B1BB-48AC-4F56-9A0A-FC3AA98A00A8}" dt="2024-05-15T13:53:41.194" v="2827" actId="408"/>
          <ac:cxnSpMkLst>
            <pc:docMk/>
            <pc:sldMk cId="147093149" sldId="312"/>
            <ac:cxnSpMk id="28" creationId="{B1146DBD-36B1-555A-4F41-E5FC0241657B}"/>
          </ac:cxnSpMkLst>
        </pc:cxnChg>
        <pc:cxnChg chg="add mod ord">
          <ac:chgData name="Zeno Eule" userId="2181db0d-9eef-459a-8936-2b35df8d15f4" providerId="ADAL" clId="{93B0B1BB-48AC-4F56-9A0A-FC3AA98A00A8}" dt="2024-05-15T13:50:59.590" v="2780"/>
          <ac:cxnSpMkLst>
            <pc:docMk/>
            <pc:sldMk cId="147093149" sldId="312"/>
            <ac:cxnSpMk id="36" creationId="{E6E8529D-3322-7A84-7D6E-3E09CDC9EED4}"/>
          </ac:cxnSpMkLst>
        </pc:cxnChg>
        <pc:cxnChg chg="add mod ord">
          <ac:chgData name="Zeno Eule" userId="2181db0d-9eef-459a-8936-2b35df8d15f4" providerId="ADAL" clId="{93B0B1BB-48AC-4F56-9A0A-FC3AA98A00A8}" dt="2024-05-15T13:50:59.590" v="2782"/>
          <ac:cxnSpMkLst>
            <pc:docMk/>
            <pc:sldMk cId="147093149" sldId="312"/>
            <ac:cxnSpMk id="38" creationId="{77042698-65A4-B82C-F51D-8EDFEA9679E7}"/>
          </ac:cxnSpMkLst>
        </pc:cxnChg>
      </pc:sldChg>
      <pc:sldChg chg="delSp modSp mod ord">
        <pc:chgData name="Zeno Eule" userId="2181db0d-9eef-459a-8936-2b35df8d15f4" providerId="ADAL" clId="{93B0B1BB-48AC-4F56-9A0A-FC3AA98A00A8}" dt="2024-05-17T13:36:41.315" v="2976" actId="478"/>
        <pc:sldMkLst>
          <pc:docMk/>
          <pc:sldMk cId="604316788" sldId="314"/>
        </pc:sldMkLst>
        <pc:spChg chg="del">
          <ac:chgData name="Zeno Eule" userId="2181db0d-9eef-459a-8936-2b35df8d15f4" providerId="ADAL" clId="{93B0B1BB-48AC-4F56-9A0A-FC3AA98A00A8}" dt="2024-05-17T13:36:41.315" v="2976" actId="478"/>
          <ac:spMkLst>
            <pc:docMk/>
            <pc:sldMk cId="604316788" sldId="314"/>
            <ac:spMk id="12" creationId="{9884944B-F19D-E3B1-18A0-5105211DDAD0}"/>
          </ac:spMkLst>
        </pc:spChg>
        <pc:graphicFrameChg chg="mod modGraphic">
          <ac:chgData name="Zeno Eule" userId="2181db0d-9eef-459a-8936-2b35df8d15f4" providerId="ADAL" clId="{93B0B1BB-48AC-4F56-9A0A-FC3AA98A00A8}" dt="2024-05-16T20:18:03.912" v="2872"/>
          <ac:graphicFrameMkLst>
            <pc:docMk/>
            <pc:sldMk cId="604316788" sldId="314"/>
            <ac:graphicFrameMk id="7" creationId="{8E6D05DA-6799-4773-E750-23E1C40BA5A5}"/>
          </ac:graphicFrameMkLst>
        </pc:graphicFrameChg>
      </pc:sldChg>
      <pc:sldChg chg="delSp mod ord">
        <pc:chgData name="Zeno Eule" userId="2181db0d-9eef-459a-8936-2b35df8d15f4" providerId="ADAL" clId="{93B0B1BB-48AC-4F56-9A0A-FC3AA98A00A8}" dt="2024-05-17T12:57:00.774" v="2889" actId="478"/>
        <pc:sldMkLst>
          <pc:docMk/>
          <pc:sldMk cId="378897943" sldId="315"/>
        </pc:sldMkLst>
        <pc:spChg chg="del">
          <ac:chgData name="Zeno Eule" userId="2181db0d-9eef-459a-8936-2b35df8d15f4" providerId="ADAL" clId="{93B0B1BB-48AC-4F56-9A0A-FC3AA98A00A8}" dt="2024-05-17T12:57:00.774" v="2889" actId="478"/>
          <ac:spMkLst>
            <pc:docMk/>
            <pc:sldMk cId="378897943" sldId="315"/>
            <ac:spMk id="4" creationId="{2221E8A4-3477-0E3B-79A7-91339AAC3C96}"/>
          </ac:spMkLst>
        </pc:spChg>
      </pc:sldChg>
      <pc:sldChg chg="delSp mod">
        <pc:chgData name="Zeno Eule" userId="2181db0d-9eef-459a-8936-2b35df8d15f4" providerId="ADAL" clId="{93B0B1BB-48AC-4F56-9A0A-FC3AA98A00A8}" dt="2024-05-17T12:57:04.986" v="2891" actId="478"/>
        <pc:sldMkLst>
          <pc:docMk/>
          <pc:sldMk cId="4162219401" sldId="316"/>
        </pc:sldMkLst>
        <pc:spChg chg="del">
          <ac:chgData name="Zeno Eule" userId="2181db0d-9eef-459a-8936-2b35df8d15f4" providerId="ADAL" clId="{93B0B1BB-48AC-4F56-9A0A-FC3AA98A00A8}" dt="2024-05-17T12:57:04.986" v="2891" actId="478"/>
          <ac:spMkLst>
            <pc:docMk/>
            <pc:sldMk cId="4162219401" sldId="316"/>
            <ac:spMk id="13" creationId="{77A546EE-E40F-0D27-7F05-D1F998C29AD3}"/>
          </ac:spMkLst>
        </pc:spChg>
      </pc:sldChg>
      <pc:sldChg chg="addSp delSp modSp mod">
        <pc:chgData name="Zeno Eule" userId="2181db0d-9eef-459a-8936-2b35df8d15f4" providerId="ADAL" clId="{93B0B1BB-48AC-4F56-9A0A-FC3AA98A00A8}" dt="2024-05-17T15:22:27.193" v="4077" actId="20577"/>
        <pc:sldMkLst>
          <pc:docMk/>
          <pc:sldMk cId="577759264" sldId="317"/>
        </pc:sldMkLst>
        <pc:spChg chg="mod ord">
          <ac:chgData name="Zeno Eule" userId="2181db0d-9eef-459a-8936-2b35df8d15f4" providerId="ADAL" clId="{93B0B1BB-48AC-4F56-9A0A-FC3AA98A00A8}" dt="2024-05-17T15:10:06.904" v="4003"/>
          <ac:spMkLst>
            <pc:docMk/>
            <pc:sldMk cId="577759264" sldId="317"/>
            <ac:spMk id="2" creationId="{66A31817-2239-6177-4CA0-F294F2E99166}"/>
          </ac:spMkLst>
        </pc:spChg>
        <pc:spChg chg="mod ord">
          <ac:chgData name="Zeno Eule" userId="2181db0d-9eef-459a-8936-2b35df8d15f4" providerId="ADAL" clId="{93B0B1BB-48AC-4F56-9A0A-FC3AA98A00A8}" dt="2024-05-17T15:10:06.904" v="4005"/>
          <ac:spMkLst>
            <pc:docMk/>
            <pc:sldMk cId="577759264" sldId="317"/>
            <ac:spMk id="3" creationId="{A95C4B3D-BC70-7C15-CA2D-93A25EAC0B82}"/>
          </ac:spMkLst>
        </pc:spChg>
        <pc:spChg chg="add del mod ord">
          <ac:chgData name="Zeno Eule" userId="2181db0d-9eef-459a-8936-2b35df8d15f4" providerId="ADAL" clId="{93B0B1BB-48AC-4F56-9A0A-FC3AA98A00A8}" dt="2024-05-17T15:10:25.926" v="4028" actId="478"/>
          <ac:spMkLst>
            <pc:docMk/>
            <pc:sldMk cId="577759264" sldId="317"/>
            <ac:spMk id="5" creationId="{E0C69A85-4EF1-74C6-2311-6D9CB589193A}"/>
          </ac:spMkLst>
        </pc:spChg>
        <pc:spChg chg="del mod ord">
          <ac:chgData name="Zeno Eule" userId="2181db0d-9eef-459a-8936-2b35df8d15f4" providerId="ADAL" clId="{93B0B1BB-48AC-4F56-9A0A-FC3AA98A00A8}" dt="2024-05-17T14:38:12.046" v="3812" actId="478"/>
          <ac:spMkLst>
            <pc:docMk/>
            <pc:sldMk cId="577759264" sldId="317"/>
            <ac:spMk id="6" creationId="{D4917654-A31F-2E29-5A6B-2EEE13C2A636}"/>
          </ac:spMkLst>
        </pc:spChg>
        <pc:spChg chg="add del mod">
          <ac:chgData name="Zeno Eule" userId="2181db0d-9eef-459a-8936-2b35df8d15f4" providerId="ADAL" clId="{93B0B1BB-48AC-4F56-9A0A-FC3AA98A00A8}" dt="2024-05-17T14:28:13.876" v="3558" actId="478"/>
          <ac:spMkLst>
            <pc:docMk/>
            <pc:sldMk cId="577759264" sldId="317"/>
            <ac:spMk id="7" creationId="{61F6A9DE-A431-C7A6-597F-85C52A66D001}"/>
          </ac:spMkLst>
        </pc:spChg>
        <pc:spChg chg="add mod ord">
          <ac:chgData name="Zeno Eule" userId="2181db0d-9eef-459a-8936-2b35df8d15f4" providerId="ADAL" clId="{93B0B1BB-48AC-4F56-9A0A-FC3AA98A00A8}" dt="2024-05-17T15:10:06.903" v="4001"/>
          <ac:spMkLst>
            <pc:docMk/>
            <pc:sldMk cId="577759264" sldId="317"/>
            <ac:spMk id="8" creationId="{3B56B71E-0136-9A9F-9577-669D4396BB8F}"/>
          </ac:spMkLst>
        </pc:spChg>
        <pc:spChg chg="add del mod ord">
          <ac:chgData name="Zeno Eule" userId="2181db0d-9eef-459a-8936-2b35df8d15f4" providerId="ADAL" clId="{93B0B1BB-48AC-4F56-9A0A-FC3AA98A00A8}" dt="2024-05-17T14:33:33.169" v="3707" actId="478"/>
          <ac:spMkLst>
            <pc:docMk/>
            <pc:sldMk cId="577759264" sldId="317"/>
            <ac:spMk id="9" creationId="{5225F072-5A93-0547-BDA2-13564BBC8236}"/>
          </ac:spMkLst>
        </pc:spChg>
        <pc:spChg chg="add del mod ord">
          <ac:chgData name="Zeno Eule" userId="2181db0d-9eef-459a-8936-2b35df8d15f4" providerId="ADAL" clId="{93B0B1BB-48AC-4F56-9A0A-FC3AA98A00A8}" dt="2024-05-17T15:09:05.519" v="3984" actId="478"/>
          <ac:spMkLst>
            <pc:docMk/>
            <pc:sldMk cId="577759264" sldId="317"/>
            <ac:spMk id="10" creationId="{F2E7E74D-FF98-7AC7-6720-D95C7559CFC7}"/>
          </ac:spMkLst>
        </pc:spChg>
        <pc:spChg chg="add del mod">
          <ac:chgData name="Zeno Eule" userId="2181db0d-9eef-459a-8936-2b35df8d15f4" providerId="ADAL" clId="{93B0B1BB-48AC-4F56-9A0A-FC3AA98A00A8}" dt="2024-05-17T14:33:46.138" v="3710" actId="478"/>
          <ac:spMkLst>
            <pc:docMk/>
            <pc:sldMk cId="577759264" sldId="317"/>
            <ac:spMk id="12" creationId="{95535EA0-D6FC-1F54-E05C-EEBA3D6ABF2E}"/>
          </ac:spMkLst>
        </pc:spChg>
        <pc:spChg chg="add del mod">
          <ac:chgData name="Zeno Eule" userId="2181db0d-9eef-459a-8936-2b35df8d15f4" providerId="ADAL" clId="{93B0B1BB-48AC-4F56-9A0A-FC3AA98A00A8}" dt="2024-05-17T14:33:46.138" v="3710" actId="478"/>
          <ac:spMkLst>
            <pc:docMk/>
            <pc:sldMk cId="577759264" sldId="317"/>
            <ac:spMk id="13" creationId="{DD1FF7F4-8FA2-EA7B-3D64-3D196E6D2424}"/>
          </ac:spMkLst>
        </pc:spChg>
        <pc:spChg chg="add mod ord">
          <ac:chgData name="Zeno Eule" userId="2181db0d-9eef-459a-8936-2b35df8d15f4" providerId="ADAL" clId="{93B0B1BB-48AC-4F56-9A0A-FC3AA98A00A8}" dt="2024-05-17T15:13:21.923" v="4060" actId="465"/>
          <ac:spMkLst>
            <pc:docMk/>
            <pc:sldMk cId="577759264" sldId="317"/>
            <ac:spMk id="14" creationId="{794F393A-F0D6-C00B-931C-973AFE443D5B}"/>
          </ac:spMkLst>
        </pc:spChg>
        <pc:spChg chg="add del mod ord">
          <ac:chgData name="Zeno Eule" userId="2181db0d-9eef-459a-8936-2b35df8d15f4" providerId="ADAL" clId="{93B0B1BB-48AC-4F56-9A0A-FC3AA98A00A8}" dt="2024-05-17T15:09:35.188" v="3988" actId="478"/>
          <ac:spMkLst>
            <pc:docMk/>
            <pc:sldMk cId="577759264" sldId="317"/>
            <ac:spMk id="15" creationId="{898C9B15-DE57-6D7F-38AD-806AC10F32D8}"/>
          </ac:spMkLst>
        </pc:spChg>
        <pc:spChg chg="add mod ord">
          <ac:chgData name="Zeno Eule" userId="2181db0d-9eef-459a-8936-2b35df8d15f4" providerId="ADAL" clId="{93B0B1BB-48AC-4F56-9A0A-FC3AA98A00A8}" dt="2024-05-17T15:13:21.923" v="4060" actId="465"/>
          <ac:spMkLst>
            <pc:docMk/>
            <pc:sldMk cId="577759264" sldId="317"/>
            <ac:spMk id="16" creationId="{DE1FC2D5-F315-BF1F-99DE-3E8D399889B6}"/>
          </ac:spMkLst>
        </pc:spChg>
        <pc:spChg chg="add del mod ord">
          <ac:chgData name="Zeno Eule" userId="2181db0d-9eef-459a-8936-2b35df8d15f4" providerId="ADAL" clId="{93B0B1BB-48AC-4F56-9A0A-FC3AA98A00A8}" dt="2024-05-17T15:09:35.188" v="3988" actId="478"/>
          <ac:spMkLst>
            <pc:docMk/>
            <pc:sldMk cId="577759264" sldId="317"/>
            <ac:spMk id="17" creationId="{8E73EE44-6DA1-E459-9E03-B392A75DAA78}"/>
          </ac:spMkLst>
        </pc:spChg>
        <pc:spChg chg="add mod ord">
          <ac:chgData name="Zeno Eule" userId="2181db0d-9eef-459a-8936-2b35df8d15f4" providerId="ADAL" clId="{93B0B1BB-48AC-4F56-9A0A-FC3AA98A00A8}" dt="2024-05-17T15:10:06.905" v="4013"/>
          <ac:spMkLst>
            <pc:docMk/>
            <pc:sldMk cId="577759264" sldId="317"/>
            <ac:spMk id="18" creationId="{A2CB465D-DA6C-A764-7DE2-8196AE2EF3C8}"/>
          </ac:spMkLst>
        </pc:spChg>
        <pc:spChg chg="add del mod ord">
          <ac:chgData name="Zeno Eule" userId="2181db0d-9eef-459a-8936-2b35df8d15f4" providerId="ADAL" clId="{93B0B1BB-48AC-4F56-9A0A-FC3AA98A00A8}" dt="2024-05-17T15:09:35.188" v="3988" actId="478"/>
          <ac:spMkLst>
            <pc:docMk/>
            <pc:sldMk cId="577759264" sldId="317"/>
            <ac:spMk id="19" creationId="{E93B8551-D737-C508-2559-55FAD2BDD50A}"/>
          </ac:spMkLst>
        </pc:spChg>
        <pc:spChg chg="mod">
          <ac:chgData name="Zeno Eule" userId="2181db0d-9eef-459a-8936-2b35df8d15f4" providerId="ADAL" clId="{93B0B1BB-48AC-4F56-9A0A-FC3AA98A00A8}" dt="2024-05-17T14:47:41.165" v="3908" actId="164"/>
          <ac:spMkLst>
            <pc:docMk/>
            <pc:sldMk cId="577759264" sldId="317"/>
            <ac:spMk id="36" creationId="{B7EF04B1-3707-3B58-F4CB-1868C9CCD09F}"/>
          </ac:spMkLst>
        </pc:spChg>
        <pc:spChg chg="mod">
          <ac:chgData name="Zeno Eule" userId="2181db0d-9eef-459a-8936-2b35df8d15f4" providerId="ADAL" clId="{93B0B1BB-48AC-4F56-9A0A-FC3AA98A00A8}" dt="2024-05-17T14:47:41.165" v="3908" actId="164"/>
          <ac:spMkLst>
            <pc:docMk/>
            <pc:sldMk cId="577759264" sldId="317"/>
            <ac:spMk id="37" creationId="{FC960318-609C-62AB-D22E-33BAA20909BE}"/>
          </ac:spMkLst>
        </pc:spChg>
        <pc:grpChg chg="add mod ord">
          <ac:chgData name="Zeno Eule" userId="2181db0d-9eef-459a-8936-2b35df8d15f4" providerId="ADAL" clId="{93B0B1BB-48AC-4F56-9A0A-FC3AA98A00A8}" dt="2024-05-17T15:10:06.907" v="4021"/>
          <ac:grpSpMkLst>
            <pc:docMk/>
            <pc:sldMk cId="577759264" sldId="317"/>
            <ac:grpSpMk id="38" creationId="{F47F96C3-47C8-0904-2EE1-3FFE79320F3C}"/>
          </ac:grpSpMkLst>
        </pc:grpChg>
        <pc:graphicFrameChg chg="mod ord modGraphic">
          <ac:chgData name="Zeno Eule" userId="2181db0d-9eef-459a-8936-2b35df8d15f4" providerId="ADAL" clId="{93B0B1BB-48AC-4F56-9A0A-FC3AA98A00A8}" dt="2024-05-17T15:22:27.193" v="4077" actId="20577"/>
          <ac:graphicFrameMkLst>
            <pc:docMk/>
            <pc:sldMk cId="577759264" sldId="317"/>
            <ac:graphicFrameMk id="4" creationId="{B4CC94A9-7216-8D63-D663-E426469220E4}"/>
          </ac:graphicFrameMkLst>
        </pc:graphicFrameChg>
        <pc:graphicFrameChg chg="add mod ord modVis replST">
          <ac:chgData name="Zeno Eule" userId="2181db0d-9eef-459a-8936-2b35df8d15f4" providerId="ADAL" clId="{93B0B1BB-48AC-4F56-9A0A-FC3AA98A00A8}" dt="2024-05-17T15:10:06.909" v="4025"/>
          <ac:graphicFrameMkLst>
            <pc:docMk/>
            <pc:sldMk cId="577759264" sldId="317"/>
            <ac:graphicFrameMk id="11" creationId="{12EF7972-B978-424D-BE4C-9FDABFD45DB5}"/>
          </ac:graphicFrameMkLst>
        </pc:graphicFrameChg>
        <pc:picChg chg="add del mod ord">
          <ac:chgData name="Zeno Eule" userId="2181db0d-9eef-459a-8936-2b35df8d15f4" providerId="ADAL" clId="{93B0B1BB-48AC-4F56-9A0A-FC3AA98A00A8}" dt="2024-05-17T14:47:39.703" v="3907" actId="27803"/>
          <ac:picMkLst>
            <pc:docMk/>
            <pc:sldMk cId="577759264" sldId="317"/>
            <ac:picMk id="21" creationId="{B7EF04B1-3707-3B58-F4CB-1868C9CCD09F}"/>
          </ac:picMkLst>
        </pc:picChg>
        <pc:picChg chg="add del mod ord">
          <ac:chgData name="Zeno Eule" userId="2181db0d-9eef-459a-8936-2b35df8d15f4" providerId="ADAL" clId="{93B0B1BB-48AC-4F56-9A0A-FC3AA98A00A8}" dt="2024-05-17T14:47:29.132" v="3904" actId="478"/>
          <ac:picMkLst>
            <pc:docMk/>
            <pc:sldMk cId="577759264" sldId="317"/>
            <ac:picMk id="23" creationId="{52CC88FD-8867-434F-77E6-960F0961E879}"/>
          </ac:picMkLst>
        </pc:picChg>
        <pc:picChg chg="add del mod ord">
          <ac:chgData name="Zeno Eule" userId="2181db0d-9eef-459a-8936-2b35df8d15f4" providerId="ADAL" clId="{93B0B1BB-48AC-4F56-9A0A-FC3AA98A00A8}" dt="2024-05-17T14:47:39.703" v="3907" actId="27803"/>
          <ac:picMkLst>
            <pc:docMk/>
            <pc:sldMk cId="577759264" sldId="317"/>
            <ac:picMk id="25" creationId="{FC960318-609C-62AB-D22E-33BAA20909BE}"/>
          </ac:picMkLst>
        </pc:picChg>
        <pc:picChg chg="add del mod ord">
          <ac:chgData name="Zeno Eule" userId="2181db0d-9eef-459a-8936-2b35df8d15f4" providerId="ADAL" clId="{93B0B1BB-48AC-4F56-9A0A-FC3AA98A00A8}" dt="2024-05-17T14:47:29.132" v="3904" actId="478"/>
          <ac:picMkLst>
            <pc:docMk/>
            <pc:sldMk cId="577759264" sldId="317"/>
            <ac:picMk id="27" creationId="{C8E3FDA2-9DE2-7076-ECFC-93DB896581CF}"/>
          </ac:picMkLst>
        </pc:picChg>
        <pc:picChg chg="add del mod">
          <ac:chgData name="Zeno Eule" userId="2181db0d-9eef-459a-8936-2b35df8d15f4" providerId="ADAL" clId="{93B0B1BB-48AC-4F56-9A0A-FC3AA98A00A8}" dt="2024-05-17T14:45:57.169" v="3819" actId="478"/>
          <ac:picMkLst>
            <pc:docMk/>
            <pc:sldMk cId="577759264" sldId="317"/>
            <ac:picMk id="29" creationId="{1627C8FB-91D8-7F83-F13F-D8AA0F95B43F}"/>
          </ac:picMkLst>
        </pc:picChg>
        <pc:picChg chg="add mod">
          <ac:chgData name="Zeno Eule" userId="2181db0d-9eef-459a-8936-2b35df8d15f4" providerId="ADAL" clId="{93B0B1BB-48AC-4F56-9A0A-FC3AA98A00A8}" dt="2024-05-17T15:13:15.688" v="4059" actId="12789"/>
          <ac:picMkLst>
            <pc:docMk/>
            <pc:sldMk cId="577759264" sldId="317"/>
            <ac:picMk id="29" creationId="{E94C1805-FF27-F1ED-6517-DBB1AD383E23}"/>
          </ac:picMkLst>
        </pc:picChg>
        <pc:picChg chg="add mod ord">
          <ac:chgData name="Zeno Eule" userId="2181db0d-9eef-459a-8936-2b35df8d15f4" providerId="ADAL" clId="{93B0B1BB-48AC-4F56-9A0A-FC3AA98A00A8}" dt="2024-05-17T15:10:06.905" v="4015"/>
          <ac:picMkLst>
            <pc:docMk/>
            <pc:sldMk cId="577759264" sldId="317"/>
            <ac:picMk id="31" creationId="{9CDD57CD-B86C-5A37-54C6-59C6ACBAA5FF}"/>
          </ac:picMkLst>
        </pc:picChg>
        <pc:picChg chg="add del mod ord">
          <ac:chgData name="Zeno Eule" userId="2181db0d-9eef-459a-8936-2b35df8d15f4" providerId="ADAL" clId="{93B0B1BB-48AC-4F56-9A0A-FC3AA98A00A8}" dt="2024-05-17T15:12:58.057" v="4055" actId="478"/>
          <ac:picMkLst>
            <pc:docMk/>
            <pc:sldMk cId="577759264" sldId="317"/>
            <ac:picMk id="33" creationId="{73396032-2BAD-AFC3-8C91-C51D073BC5E5}"/>
          </ac:picMkLst>
        </pc:picChg>
        <pc:picChg chg="add mod ord">
          <ac:chgData name="Zeno Eule" userId="2181db0d-9eef-459a-8936-2b35df8d15f4" providerId="ADAL" clId="{93B0B1BB-48AC-4F56-9A0A-FC3AA98A00A8}" dt="2024-05-17T15:13:10.986" v="4058" actId="553"/>
          <ac:picMkLst>
            <pc:docMk/>
            <pc:sldMk cId="577759264" sldId="317"/>
            <ac:picMk id="35" creationId="{2FE7E26B-BE1D-94D6-BCBA-E8408F149E73}"/>
          </ac:picMkLst>
        </pc:picChg>
        <pc:cxnChg chg="add mod">
          <ac:chgData name="Zeno Eule" userId="2181db0d-9eef-459a-8936-2b35df8d15f4" providerId="ADAL" clId="{93B0B1BB-48AC-4F56-9A0A-FC3AA98A00A8}" dt="2024-05-17T15:14:17.330" v="4071" actId="692"/>
          <ac:cxnSpMkLst>
            <pc:docMk/>
            <pc:sldMk cId="577759264" sldId="317"/>
            <ac:cxnSpMk id="7" creationId="{5BDEEEDE-4D97-A33B-F629-3B131B38A352}"/>
          </ac:cxnSpMkLst>
        </pc:cxnChg>
        <pc:cxnChg chg="add mod">
          <ac:chgData name="Zeno Eule" userId="2181db0d-9eef-459a-8936-2b35df8d15f4" providerId="ADAL" clId="{93B0B1BB-48AC-4F56-9A0A-FC3AA98A00A8}" dt="2024-05-17T15:14:17.330" v="4071" actId="692"/>
          <ac:cxnSpMkLst>
            <pc:docMk/>
            <pc:sldMk cId="577759264" sldId="317"/>
            <ac:cxnSpMk id="13" creationId="{B7FC79AE-271B-DF66-C1C0-F7EEDEF06E7F}"/>
          </ac:cxnSpMkLst>
        </pc:cxnChg>
        <pc:cxnChg chg="add mod">
          <ac:chgData name="Zeno Eule" userId="2181db0d-9eef-459a-8936-2b35df8d15f4" providerId="ADAL" clId="{93B0B1BB-48AC-4F56-9A0A-FC3AA98A00A8}" dt="2024-05-17T15:14:17.330" v="4071" actId="692"/>
          <ac:cxnSpMkLst>
            <pc:docMk/>
            <pc:sldMk cId="577759264" sldId="317"/>
            <ac:cxnSpMk id="22" creationId="{23431DE2-72E7-B6B3-89C6-74813ACBFED3}"/>
          </ac:cxnSpMkLst>
        </pc:cxnChg>
        <pc:cxnChg chg="add mod">
          <ac:chgData name="Zeno Eule" userId="2181db0d-9eef-459a-8936-2b35df8d15f4" providerId="ADAL" clId="{93B0B1BB-48AC-4F56-9A0A-FC3AA98A00A8}" dt="2024-05-17T15:14:17.330" v="4071" actId="692"/>
          <ac:cxnSpMkLst>
            <pc:docMk/>
            <pc:sldMk cId="577759264" sldId="317"/>
            <ac:cxnSpMk id="25" creationId="{C22D1266-494A-8DBF-1946-98F06D3516B6}"/>
          </ac:cxnSpMkLst>
        </pc:cxnChg>
      </pc:sldChg>
      <pc:sldChg chg="addSp delSp modSp mod">
        <pc:chgData name="Zeno Eule" userId="2181db0d-9eef-459a-8936-2b35df8d15f4" providerId="ADAL" clId="{93B0B1BB-48AC-4F56-9A0A-FC3AA98A00A8}" dt="2024-05-17T13:10:49.643" v="2972" actId="478"/>
        <pc:sldMkLst>
          <pc:docMk/>
          <pc:sldMk cId="2805918559" sldId="320"/>
        </pc:sldMkLst>
        <pc:spChg chg="mod">
          <ac:chgData name="Zeno Eule" userId="2181db0d-9eef-459a-8936-2b35df8d15f4" providerId="ADAL" clId="{93B0B1BB-48AC-4F56-9A0A-FC3AA98A00A8}" dt="2024-05-17T13:00:31.842" v="2902" actId="207"/>
          <ac:spMkLst>
            <pc:docMk/>
            <pc:sldMk cId="2805918559" sldId="320"/>
            <ac:spMk id="25" creationId="{AF50A492-B016-E8BE-92C2-E5C7EC0C2F59}"/>
          </ac:spMkLst>
        </pc:spChg>
        <pc:spChg chg="mod">
          <ac:chgData name="Zeno Eule" userId="2181db0d-9eef-459a-8936-2b35df8d15f4" providerId="ADAL" clId="{93B0B1BB-48AC-4F56-9A0A-FC3AA98A00A8}" dt="2024-05-17T13:00:44.308" v="2903" actId="208"/>
          <ac:spMkLst>
            <pc:docMk/>
            <pc:sldMk cId="2805918559" sldId="320"/>
            <ac:spMk id="30" creationId="{BE927285-AD03-084A-6F7D-60BE64BB0379}"/>
          </ac:spMkLst>
        </pc:spChg>
        <pc:spChg chg="mod">
          <ac:chgData name="Zeno Eule" userId="2181db0d-9eef-459a-8936-2b35df8d15f4" providerId="ADAL" clId="{93B0B1BB-48AC-4F56-9A0A-FC3AA98A00A8}" dt="2024-05-17T13:00:31.842" v="2902" actId="207"/>
          <ac:spMkLst>
            <pc:docMk/>
            <pc:sldMk cId="2805918559" sldId="320"/>
            <ac:spMk id="51" creationId="{D4733507-C3D3-6E57-D01C-B6852151BEA8}"/>
          </ac:spMkLst>
        </pc:spChg>
        <pc:spChg chg="mod">
          <ac:chgData name="Zeno Eule" userId="2181db0d-9eef-459a-8936-2b35df8d15f4" providerId="ADAL" clId="{93B0B1BB-48AC-4F56-9A0A-FC3AA98A00A8}" dt="2024-05-17T13:00:44.308" v="2903" actId="208"/>
          <ac:spMkLst>
            <pc:docMk/>
            <pc:sldMk cId="2805918559" sldId="320"/>
            <ac:spMk id="56" creationId="{7FF20E80-89E4-71C3-4190-1974BAC2E72F}"/>
          </ac:spMkLst>
        </pc:spChg>
        <pc:spChg chg="mod">
          <ac:chgData name="Zeno Eule" userId="2181db0d-9eef-459a-8936-2b35df8d15f4" providerId="ADAL" clId="{93B0B1BB-48AC-4F56-9A0A-FC3AA98A00A8}" dt="2024-05-17T13:00:44.308" v="2903" actId="208"/>
          <ac:spMkLst>
            <pc:docMk/>
            <pc:sldMk cId="2805918559" sldId="320"/>
            <ac:spMk id="57" creationId="{3C7A0172-3908-C1B1-307A-F5CD95E17224}"/>
          </ac:spMkLst>
        </pc:spChg>
        <pc:cxnChg chg="add del mod">
          <ac:chgData name="Zeno Eule" userId="2181db0d-9eef-459a-8936-2b35df8d15f4" providerId="ADAL" clId="{93B0B1BB-48AC-4F56-9A0A-FC3AA98A00A8}" dt="2024-05-17T13:10:49.643" v="2972" actId="478"/>
          <ac:cxnSpMkLst>
            <pc:docMk/>
            <pc:sldMk cId="2805918559" sldId="320"/>
            <ac:cxnSpMk id="12" creationId="{6C44A0B8-AB74-D3F7-E2AC-7AF1A63860B2}"/>
          </ac:cxnSpMkLst>
        </pc:cxnChg>
      </pc:sldChg>
      <pc:sldChg chg="addSp delSp modSp mod">
        <pc:chgData name="Zeno Eule" userId="2181db0d-9eef-459a-8936-2b35df8d15f4" providerId="ADAL" clId="{93B0B1BB-48AC-4F56-9A0A-FC3AA98A00A8}" dt="2024-05-17T13:04:18.890" v="2971" actId="478"/>
        <pc:sldMkLst>
          <pc:docMk/>
          <pc:sldMk cId="2970629482" sldId="321"/>
        </pc:sldMkLst>
        <pc:spChg chg="mod ord">
          <ac:chgData name="Zeno Eule" userId="2181db0d-9eef-459a-8936-2b35df8d15f4" providerId="ADAL" clId="{93B0B1BB-48AC-4F56-9A0A-FC3AA98A00A8}" dt="2024-05-17T13:02:34.840" v="2927"/>
          <ac:spMkLst>
            <pc:docMk/>
            <pc:sldMk cId="2970629482" sldId="321"/>
            <ac:spMk id="2" creationId="{F7857DC1-B240-2014-FF35-005F90715DFD}"/>
          </ac:spMkLst>
        </pc:spChg>
        <pc:spChg chg="mod ord">
          <ac:chgData name="Zeno Eule" userId="2181db0d-9eef-459a-8936-2b35df8d15f4" providerId="ADAL" clId="{93B0B1BB-48AC-4F56-9A0A-FC3AA98A00A8}" dt="2024-05-17T13:02:34.840" v="2929"/>
          <ac:spMkLst>
            <pc:docMk/>
            <pc:sldMk cId="2970629482" sldId="321"/>
            <ac:spMk id="3" creationId="{281105C5-44E1-6128-D52F-2586EB705ADC}"/>
          </ac:spMkLst>
        </pc:spChg>
        <pc:spChg chg="mod ord">
          <ac:chgData name="Zeno Eule" userId="2181db0d-9eef-459a-8936-2b35df8d15f4" providerId="ADAL" clId="{93B0B1BB-48AC-4F56-9A0A-FC3AA98A00A8}" dt="2024-05-17T13:03:05.101" v="2965" actId="14100"/>
          <ac:spMkLst>
            <pc:docMk/>
            <pc:sldMk cId="2970629482" sldId="321"/>
            <ac:spMk id="4" creationId="{029A1717-D749-9475-5E94-9E92A044E540}"/>
          </ac:spMkLst>
        </pc:spChg>
        <pc:spChg chg="add del mod">
          <ac:chgData name="Zeno Eule" userId="2181db0d-9eef-459a-8936-2b35df8d15f4" providerId="ADAL" clId="{93B0B1BB-48AC-4F56-9A0A-FC3AA98A00A8}" dt="2024-05-17T13:04:18.890" v="2971" actId="478"/>
          <ac:spMkLst>
            <pc:docMk/>
            <pc:sldMk cId="2970629482" sldId="321"/>
            <ac:spMk id="7" creationId="{147530A3-AD3C-7404-3FC0-7B0BE844CA3C}"/>
          </ac:spMkLst>
        </pc:spChg>
        <pc:spChg chg="add mod">
          <ac:chgData name="Zeno Eule" userId="2181db0d-9eef-459a-8936-2b35df8d15f4" providerId="ADAL" clId="{93B0B1BB-48AC-4F56-9A0A-FC3AA98A00A8}" dt="2024-05-17T13:04:16.091" v="2970" actId="554"/>
          <ac:spMkLst>
            <pc:docMk/>
            <pc:sldMk cId="2970629482" sldId="321"/>
            <ac:spMk id="8" creationId="{6595A55F-4D30-596B-74B3-37AB4A8536E6}"/>
          </ac:spMkLst>
        </pc:spChg>
        <pc:spChg chg="mod ord">
          <ac:chgData name="Zeno Eule" userId="2181db0d-9eef-459a-8936-2b35df8d15f4" providerId="ADAL" clId="{93B0B1BB-48AC-4F56-9A0A-FC3AA98A00A8}" dt="2024-05-17T13:03:05.101" v="2965" actId="14100"/>
          <ac:spMkLst>
            <pc:docMk/>
            <pc:sldMk cId="2970629482" sldId="321"/>
            <ac:spMk id="14" creationId="{13AEE1E3-9434-EEFC-CDD7-0C263209BA0C}"/>
          </ac:spMkLst>
        </pc:spChg>
        <pc:spChg chg="del mod ord">
          <ac:chgData name="Zeno Eule" userId="2181db0d-9eef-459a-8936-2b35df8d15f4" providerId="ADAL" clId="{93B0B1BB-48AC-4F56-9A0A-FC3AA98A00A8}" dt="2024-05-17T13:04:10.097" v="2969" actId="478"/>
          <ac:spMkLst>
            <pc:docMk/>
            <pc:sldMk cId="2970629482" sldId="321"/>
            <ac:spMk id="25" creationId="{AF50A492-B016-E8BE-92C2-E5C7EC0C2F59}"/>
          </ac:spMkLst>
        </pc:spChg>
        <pc:spChg chg="mod ord">
          <ac:chgData name="Zeno Eule" userId="2181db0d-9eef-459a-8936-2b35df8d15f4" providerId="ADAL" clId="{93B0B1BB-48AC-4F56-9A0A-FC3AA98A00A8}" dt="2024-05-17T13:02:34.845" v="2933"/>
          <ac:spMkLst>
            <pc:docMk/>
            <pc:sldMk cId="2970629482" sldId="321"/>
            <ac:spMk id="26" creationId="{CBA1AAD0-6D7B-083C-8A3C-4D9FC143648D}"/>
          </ac:spMkLst>
        </pc:spChg>
        <pc:spChg chg="mod ord">
          <ac:chgData name="Zeno Eule" userId="2181db0d-9eef-459a-8936-2b35df8d15f4" providerId="ADAL" clId="{93B0B1BB-48AC-4F56-9A0A-FC3AA98A00A8}" dt="2024-05-17T13:04:16.091" v="2970" actId="554"/>
          <ac:spMkLst>
            <pc:docMk/>
            <pc:sldMk cId="2970629482" sldId="321"/>
            <ac:spMk id="28" creationId="{4AAA4E85-0F92-1C8E-A8D9-E229FF14AF51}"/>
          </ac:spMkLst>
        </pc:spChg>
        <pc:spChg chg="mod ord">
          <ac:chgData name="Zeno Eule" userId="2181db0d-9eef-459a-8936-2b35df8d15f4" providerId="ADAL" clId="{93B0B1BB-48AC-4F56-9A0A-FC3AA98A00A8}" dt="2024-05-17T13:02:34.845" v="2937"/>
          <ac:spMkLst>
            <pc:docMk/>
            <pc:sldMk cId="2970629482" sldId="321"/>
            <ac:spMk id="29" creationId="{7108B188-BE1D-4E7E-C7B4-5C45F5300EB8}"/>
          </ac:spMkLst>
        </pc:spChg>
        <pc:graphicFrameChg chg="add mod ord modVis replST">
          <ac:chgData name="Zeno Eule" userId="2181db0d-9eef-459a-8936-2b35df8d15f4" providerId="ADAL" clId="{93B0B1BB-48AC-4F56-9A0A-FC3AA98A00A8}" dt="2024-05-17T13:02:34.904" v="2960"/>
          <ac:graphicFrameMkLst>
            <pc:docMk/>
            <pc:sldMk cId="2970629482" sldId="321"/>
            <ac:graphicFrameMk id="6" creationId="{B688307B-92F9-BB65-5396-554531F6CA47}"/>
          </ac:graphicFrameMkLst>
        </pc:graphicFrameChg>
        <pc:picChg chg="mod">
          <ac:chgData name="Zeno Eule" userId="2181db0d-9eef-459a-8936-2b35df8d15f4" providerId="ADAL" clId="{93B0B1BB-48AC-4F56-9A0A-FC3AA98A00A8}" dt="2024-05-17T13:02:34.845" v="2940"/>
          <ac:picMkLst>
            <pc:docMk/>
            <pc:sldMk cId="2970629482" sldId="321"/>
            <ac:picMk id="9" creationId="{E9CEA238-B81E-319D-BC72-90DD66C77DCB}"/>
          </ac:picMkLst>
        </pc:picChg>
        <pc:picChg chg="mod">
          <ac:chgData name="Zeno Eule" userId="2181db0d-9eef-459a-8936-2b35df8d15f4" providerId="ADAL" clId="{93B0B1BB-48AC-4F56-9A0A-FC3AA98A00A8}" dt="2024-05-17T13:02:34.849" v="2941"/>
          <ac:picMkLst>
            <pc:docMk/>
            <pc:sldMk cId="2970629482" sldId="321"/>
            <ac:picMk id="11" creationId="{42D0B01B-93D5-BEF5-A503-5E287F176C1D}"/>
          </ac:picMkLst>
        </pc:picChg>
        <pc:cxnChg chg="add mod ord">
          <ac:chgData name="Zeno Eule" userId="2181db0d-9eef-459a-8936-2b35df8d15f4" providerId="ADAL" clId="{93B0B1BB-48AC-4F56-9A0A-FC3AA98A00A8}" dt="2024-05-17T13:02:34.840" v="2925"/>
          <ac:cxnSpMkLst>
            <pc:docMk/>
            <pc:sldMk cId="2970629482" sldId="321"/>
            <ac:cxnSpMk id="5" creationId="{B3839C4D-065B-DC59-6043-7B7E6EF20899}"/>
          </ac:cxnSpMkLst>
        </pc:cxnChg>
        <pc:cxnChg chg="del">
          <ac:chgData name="Zeno Eule" userId="2181db0d-9eef-459a-8936-2b35df8d15f4" providerId="ADAL" clId="{93B0B1BB-48AC-4F56-9A0A-FC3AA98A00A8}" dt="2024-05-17T13:02:30.795" v="2923" actId="478"/>
          <ac:cxnSpMkLst>
            <pc:docMk/>
            <pc:sldMk cId="2970629482" sldId="321"/>
            <ac:cxnSpMk id="13" creationId="{63E1673F-DCD7-D30F-D2E2-FC2E975019BB}"/>
          </ac:cxnSpMkLst>
        </pc:cxnChg>
      </pc:sldChg>
      <pc:sldChg chg="addSp delSp modSp mod">
        <pc:chgData name="Zeno Eule" userId="2181db0d-9eef-459a-8936-2b35df8d15f4" providerId="ADAL" clId="{93B0B1BB-48AC-4F56-9A0A-FC3AA98A00A8}" dt="2024-05-17T14:27:23.171" v="3548" actId="1582"/>
        <pc:sldMkLst>
          <pc:docMk/>
          <pc:sldMk cId="3277142740" sldId="327"/>
        </pc:sldMkLst>
        <pc:spChg chg="add del mod">
          <ac:chgData name="Zeno Eule" userId="2181db0d-9eef-459a-8936-2b35df8d15f4" providerId="ADAL" clId="{93B0B1BB-48AC-4F56-9A0A-FC3AA98A00A8}" dt="2024-05-17T14:24:38.882" v="3499" actId="478"/>
          <ac:spMkLst>
            <pc:docMk/>
            <pc:sldMk cId="3277142740" sldId="327"/>
            <ac:spMk id="4" creationId="{7C751F71-233A-AAD8-073C-F8398DB2143A}"/>
          </ac:spMkLst>
        </pc:spChg>
        <pc:spChg chg="del mod topLvl">
          <ac:chgData name="Zeno Eule" userId="2181db0d-9eef-459a-8936-2b35df8d15f4" providerId="ADAL" clId="{93B0B1BB-48AC-4F56-9A0A-FC3AA98A00A8}" dt="2024-05-17T14:10:16.703" v="3015" actId="478"/>
          <ac:spMkLst>
            <pc:docMk/>
            <pc:sldMk cId="3277142740" sldId="327"/>
            <ac:spMk id="6" creationId="{8677813E-4ADE-28C3-D73C-4C56B2E3D68B}"/>
          </ac:spMkLst>
        </pc:spChg>
        <pc:spChg chg="del mod topLvl">
          <ac:chgData name="Zeno Eule" userId="2181db0d-9eef-459a-8936-2b35df8d15f4" providerId="ADAL" clId="{93B0B1BB-48AC-4F56-9A0A-FC3AA98A00A8}" dt="2024-05-17T14:10:22.144" v="3016" actId="478"/>
          <ac:spMkLst>
            <pc:docMk/>
            <pc:sldMk cId="3277142740" sldId="327"/>
            <ac:spMk id="7" creationId="{B4BC42DC-297C-C608-1D0E-AA7E5E244352}"/>
          </ac:spMkLst>
        </pc:spChg>
        <pc:spChg chg="del mod topLvl">
          <ac:chgData name="Zeno Eule" userId="2181db0d-9eef-459a-8936-2b35df8d15f4" providerId="ADAL" clId="{93B0B1BB-48AC-4F56-9A0A-FC3AA98A00A8}" dt="2024-05-17T14:10:22.144" v="3016" actId="478"/>
          <ac:spMkLst>
            <pc:docMk/>
            <pc:sldMk cId="3277142740" sldId="327"/>
            <ac:spMk id="8" creationId="{C145C3F5-38B3-6F65-1B82-9B753AC5191B}"/>
          </ac:spMkLst>
        </pc:spChg>
        <pc:spChg chg="del mod topLvl">
          <ac:chgData name="Zeno Eule" userId="2181db0d-9eef-459a-8936-2b35df8d15f4" providerId="ADAL" clId="{93B0B1BB-48AC-4F56-9A0A-FC3AA98A00A8}" dt="2024-05-17T14:10:22.144" v="3016" actId="478"/>
          <ac:spMkLst>
            <pc:docMk/>
            <pc:sldMk cId="3277142740" sldId="327"/>
            <ac:spMk id="9" creationId="{0B3FC182-2E32-575E-B7F8-C52C83431E65}"/>
          </ac:spMkLst>
        </pc:spChg>
        <pc:spChg chg="del mod topLvl">
          <ac:chgData name="Zeno Eule" userId="2181db0d-9eef-459a-8936-2b35df8d15f4" providerId="ADAL" clId="{93B0B1BB-48AC-4F56-9A0A-FC3AA98A00A8}" dt="2024-05-17T14:10:22.144" v="3016" actId="478"/>
          <ac:spMkLst>
            <pc:docMk/>
            <pc:sldMk cId="3277142740" sldId="327"/>
            <ac:spMk id="10" creationId="{F7BFE87B-4BAB-BA60-409A-AD116DC4BA24}"/>
          </ac:spMkLst>
        </pc:spChg>
        <pc:spChg chg="del mod topLvl">
          <ac:chgData name="Zeno Eule" userId="2181db0d-9eef-459a-8936-2b35df8d15f4" providerId="ADAL" clId="{93B0B1BB-48AC-4F56-9A0A-FC3AA98A00A8}" dt="2024-05-17T14:10:22.144" v="3016" actId="478"/>
          <ac:spMkLst>
            <pc:docMk/>
            <pc:sldMk cId="3277142740" sldId="327"/>
            <ac:spMk id="11" creationId="{C5794174-84AF-6361-18B8-A7315331EA3B}"/>
          </ac:spMkLst>
        </pc:spChg>
        <pc:spChg chg="del mod topLvl">
          <ac:chgData name="Zeno Eule" userId="2181db0d-9eef-459a-8936-2b35df8d15f4" providerId="ADAL" clId="{93B0B1BB-48AC-4F56-9A0A-FC3AA98A00A8}" dt="2024-05-17T14:10:22.144" v="3016" actId="478"/>
          <ac:spMkLst>
            <pc:docMk/>
            <pc:sldMk cId="3277142740" sldId="327"/>
            <ac:spMk id="12" creationId="{EB2CB220-9FEC-132B-6847-2FE5FB7A6BBB}"/>
          </ac:spMkLst>
        </pc:spChg>
        <pc:spChg chg="del mod topLvl">
          <ac:chgData name="Zeno Eule" userId="2181db0d-9eef-459a-8936-2b35df8d15f4" providerId="ADAL" clId="{93B0B1BB-48AC-4F56-9A0A-FC3AA98A00A8}" dt="2024-05-17T14:10:22.144" v="3016" actId="478"/>
          <ac:spMkLst>
            <pc:docMk/>
            <pc:sldMk cId="3277142740" sldId="327"/>
            <ac:spMk id="13" creationId="{7A25A0D8-4473-C3C3-0DEA-8C4832351E31}"/>
          </ac:spMkLst>
        </pc:spChg>
        <pc:spChg chg="del mod topLvl">
          <ac:chgData name="Zeno Eule" userId="2181db0d-9eef-459a-8936-2b35df8d15f4" providerId="ADAL" clId="{93B0B1BB-48AC-4F56-9A0A-FC3AA98A00A8}" dt="2024-05-17T14:10:22.144" v="3016" actId="478"/>
          <ac:spMkLst>
            <pc:docMk/>
            <pc:sldMk cId="3277142740" sldId="327"/>
            <ac:spMk id="14" creationId="{0E895B78-015E-C068-B157-03FEBE896EB5}"/>
          </ac:spMkLst>
        </pc:spChg>
        <pc:spChg chg="del mod topLvl">
          <ac:chgData name="Zeno Eule" userId="2181db0d-9eef-459a-8936-2b35df8d15f4" providerId="ADAL" clId="{93B0B1BB-48AC-4F56-9A0A-FC3AA98A00A8}" dt="2024-05-17T14:10:22.144" v="3016" actId="478"/>
          <ac:spMkLst>
            <pc:docMk/>
            <pc:sldMk cId="3277142740" sldId="327"/>
            <ac:spMk id="15" creationId="{B8104B23-1B06-84B7-4D18-3EC5D643ADF2}"/>
          </ac:spMkLst>
        </pc:spChg>
        <pc:spChg chg="del mod topLvl">
          <ac:chgData name="Zeno Eule" userId="2181db0d-9eef-459a-8936-2b35df8d15f4" providerId="ADAL" clId="{93B0B1BB-48AC-4F56-9A0A-FC3AA98A00A8}" dt="2024-05-17T14:10:22.144" v="3016" actId="478"/>
          <ac:spMkLst>
            <pc:docMk/>
            <pc:sldMk cId="3277142740" sldId="327"/>
            <ac:spMk id="16" creationId="{DBEEC2C4-BBB8-B78C-CBE4-BD2630C745C8}"/>
          </ac:spMkLst>
        </pc:spChg>
        <pc:spChg chg="del mod topLvl">
          <ac:chgData name="Zeno Eule" userId="2181db0d-9eef-459a-8936-2b35df8d15f4" providerId="ADAL" clId="{93B0B1BB-48AC-4F56-9A0A-FC3AA98A00A8}" dt="2024-05-17T14:10:22.144" v="3016" actId="478"/>
          <ac:spMkLst>
            <pc:docMk/>
            <pc:sldMk cId="3277142740" sldId="327"/>
            <ac:spMk id="17" creationId="{276D6815-9A01-34E2-653D-38BD426CFD3C}"/>
          </ac:spMkLst>
        </pc:spChg>
        <pc:spChg chg="del mod topLvl">
          <ac:chgData name="Zeno Eule" userId="2181db0d-9eef-459a-8936-2b35df8d15f4" providerId="ADAL" clId="{93B0B1BB-48AC-4F56-9A0A-FC3AA98A00A8}" dt="2024-05-17T14:10:22.144" v="3016" actId="478"/>
          <ac:spMkLst>
            <pc:docMk/>
            <pc:sldMk cId="3277142740" sldId="327"/>
            <ac:spMk id="18" creationId="{066E2E43-3222-A030-A400-29412DBD6B40}"/>
          </ac:spMkLst>
        </pc:spChg>
        <pc:spChg chg="del mod topLvl">
          <ac:chgData name="Zeno Eule" userId="2181db0d-9eef-459a-8936-2b35df8d15f4" providerId="ADAL" clId="{93B0B1BB-48AC-4F56-9A0A-FC3AA98A00A8}" dt="2024-05-17T14:10:22.144" v="3016" actId="478"/>
          <ac:spMkLst>
            <pc:docMk/>
            <pc:sldMk cId="3277142740" sldId="327"/>
            <ac:spMk id="19" creationId="{8E34DF53-4239-449F-914C-9F17F6F5DCC1}"/>
          </ac:spMkLst>
        </pc:spChg>
        <pc:spChg chg="del mod topLvl">
          <ac:chgData name="Zeno Eule" userId="2181db0d-9eef-459a-8936-2b35df8d15f4" providerId="ADAL" clId="{93B0B1BB-48AC-4F56-9A0A-FC3AA98A00A8}" dt="2024-05-17T14:10:22.144" v="3016" actId="478"/>
          <ac:spMkLst>
            <pc:docMk/>
            <pc:sldMk cId="3277142740" sldId="327"/>
            <ac:spMk id="20" creationId="{B2643A8F-E1B6-B945-F03C-24F9FCCBC67D}"/>
          </ac:spMkLst>
        </pc:spChg>
        <pc:spChg chg="del mod topLvl">
          <ac:chgData name="Zeno Eule" userId="2181db0d-9eef-459a-8936-2b35df8d15f4" providerId="ADAL" clId="{93B0B1BB-48AC-4F56-9A0A-FC3AA98A00A8}" dt="2024-05-17T14:10:22.144" v="3016" actId="478"/>
          <ac:spMkLst>
            <pc:docMk/>
            <pc:sldMk cId="3277142740" sldId="327"/>
            <ac:spMk id="21" creationId="{5C14DF0A-CA3A-D4FC-75E9-2AAF7380031F}"/>
          </ac:spMkLst>
        </pc:spChg>
        <pc:spChg chg="del mod topLvl">
          <ac:chgData name="Zeno Eule" userId="2181db0d-9eef-459a-8936-2b35df8d15f4" providerId="ADAL" clId="{93B0B1BB-48AC-4F56-9A0A-FC3AA98A00A8}" dt="2024-05-17T14:10:22.144" v="3016" actId="478"/>
          <ac:spMkLst>
            <pc:docMk/>
            <pc:sldMk cId="3277142740" sldId="327"/>
            <ac:spMk id="22" creationId="{E917AD31-9E42-0D6A-D8A4-91C07F0FD803}"/>
          </ac:spMkLst>
        </pc:spChg>
        <pc:spChg chg="del mod topLvl">
          <ac:chgData name="Zeno Eule" userId="2181db0d-9eef-459a-8936-2b35df8d15f4" providerId="ADAL" clId="{93B0B1BB-48AC-4F56-9A0A-FC3AA98A00A8}" dt="2024-05-17T14:10:22.144" v="3016" actId="478"/>
          <ac:spMkLst>
            <pc:docMk/>
            <pc:sldMk cId="3277142740" sldId="327"/>
            <ac:spMk id="23" creationId="{4457EBAB-54E1-926A-282C-98BA9557178D}"/>
          </ac:spMkLst>
        </pc:spChg>
        <pc:spChg chg="mod">
          <ac:chgData name="Zeno Eule" userId="2181db0d-9eef-459a-8936-2b35df8d15f4" providerId="ADAL" clId="{93B0B1BB-48AC-4F56-9A0A-FC3AA98A00A8}" dt="2024-05-17T13:00:01.541" v="2900" actId="207"/>
          <ac:spMkLst>
            <pc:docMk/>
            <pc:sldMk cId="3277142740" sldId="327"/>
            <ac:spMk id="25" creationId="{AF50A492-B016-E8BE-92C2-E5C7EC0C2F59}"/>
          </ac:spMkLst>
        </pc:spChg>
        <pc:spChg chg="del mod topLvl">
          <ac:chgData name="Zeno Eule" userId="2181db0d-9eef-459a-8936-2b35df8d15f4" providerId="ADAL" clId="{93B0B1BB-48AC-4F56-9A0A-FC3AA98A00A8}" dt="2024-05-17T14:24:38.882" v="3499" actId="478"/>
          <ac:spMkLst>
            <pc:docMk/>
            <pc:sldMk cId="3277142740" sldId="327"/>
            <ac:spMk id="28" creationId="{902BA357-BC68-3D20-87FC-D7A73D0A2D3D}"/>
          </ac:spMkLst>
        </pc:spChg>
        <pc:spChg chg="del mod topLvl">
          <ac:chgData name="Zeno Eule" userId="2181db0d-9eef-459a-8936-2b35df8d15f4" providerId="ADAL" clId="{93B0B1BB-48AC-4F56-9A0A-FC3AA98A00A8}" dt="2024-05-17T14:24:38.882" v="3499" actId="478"/>
          <ac:spMkLst>
            <pc:docMk/>
            <pc:sldMk cId="3277142740" sldId="327"/>
            <ac:spMk id="29" creationId="{50F6AAD7-02D9-AA87-928B-E88F0BC062E3}"/>
          </ac:spMkLst>
        </pc:spChg>
        <pc:spChg chg="del mod topLvl">
          <ac:chgData name="Zeno Eule" userId="2181db0d-9eef-459a-8936-2b35df8d15f4" providerId="ADAL" clId="{93B0B1BB-48AC-4F56-9A0A-FC3AA98A00A8}" dt="2024-05-17T14:18:20.252" v="3186" actId="478"/>
          <ac:spMkLst>
            <pc:docMk/>
            <pc:sldMk cId="3277142740" sldId="327"/>
            <ac:spMk id="30" creationId="{B711C4CE-A881-D4AF-572C-A8CD3E8A5801}"/>
          </ac:spMkLst>
        </pc:spChg>
        <pc:spChg chg="del mod topLvl">
          <ac:chgData name="Zeno Eule" userId="2181db0d-9eef-459a-8936-2b35df8d15f4" providerId="ADAL" clId="{93B0B1BB-48AC-4F56-9A0A-FC3AA98A00A8}" dt="2024-05-17T14:24:38.882" v="3499" actId="478"/>
          <ac:spMkLst>
            <pc:docMk/>
            <pc:sldMk cId="3277142740" sldId="327"/>
            <ac:spMk id="32" creationId="{B6F3F1DE-41EB-DCA4-598B-C3085A4A5EC9}"/>
          </ac:spMkLst>
        </pc:spChg>
        <pc:spChg chg="del mod topLvl">
          <ac:chgData name="Zeno Eule" userId="2181db0d-9eef-459a-8936-2b35df8d15f4" providerId="ADAL" clId="{93B0B1BB-48AC-4F56-9A0A-FC3AA98A00A8}" dt="2024-05-17T14:18:20.252" v="3186" actId="478"/>
          <ac:spMkLst>
            <pc:docMk/>
            <pc:sldMk cId="3277142740" sldId="327"/>
            <ac:spMk id="34" creationId="{6EDA7573-771D-C19F-DB08-7E055DB70861}"/>
          </ac:spMkLst>
        </pc:spChg>
        <pc:spChg chg="del mod topLvl">
          <ac:chgData name="Zeno Eule" userId="2181db0d-9eef-459a-8936-2b35df8d15f4" providerId="ADAL" clId="{93B0B1BB-48AC-4F56-9A0A-FC3AA98A00A8}" dt="2024-05-17T14:24:38.882" v="3499" actId="478"/>
          <ac:spMkLst>
            <pc:docMk/>
            <pc:sldMk cId="3277142740" sldId="327"/>
            <ac:spMk id="36" creationId="{4B34D40D-671D-DE0A-5349-BBB75FE38933}"/>
          </ac:spMkLst>
        </pc:spChg>
        <pc:spChg chg="del mod topLvl">
          <ac:chgData name="Zeno Eule" userId="2181db0d-9eef-459a-8936-2b35df8d15f4" providerId="ADAL" clId="{93B0B1BB-48AC-4F56-9A0A-FC3AA98A00A8}" dt="2024-05-17T14:18:20.252" v="3186" actId="478"/>
          <ac:spMkLst>
            <pc:docMk/>
            <pc:sldMk cId="3277142740" sldId="327"/>
            <ac:spMk id="37" creationId="{1305208C-6042-7941-5CC5-4E2E284E2196}"/>
          </ac:spMkLst>
        </pc:spChg>
        <pc:spChg chg="del mod topLvl">
          <ac:chgData name="Zeno Eule" userId="2181db0d-9eef-459a-8936-2b35df8d15f4" providerId="ADAL" clId="{93B0B1BB-48AC-4F56-9A0A-FC3AA98A00A8}" dt="2024-05-17T14:24:38.882" v="3499" actId="478"/>
          <ac:spMkLst>
            <pc:docMk/>
            <pc:sldMk cId="3277142740" sldId="327"/>
            <ac:spMk id="38" creationId="{ADD12012-4C7F-099D-C1AC-CB1560AC1FAB}"/>
          </ac:spMkLst>
        </pc:spChg>
        <pc:spChg chg="del mod topLvl">
          <ac:chgData name="Zeno Eule" userId="2181db0d-9eef-459a-8936-2b35df8d15f4" providerId="ADAL" clId="{93B0B1BB-48AC-4F56-9A0A-FC3AA98A00A8}" dt="2024-05-17T14:18:20.252" v="3186" actId="478"/>
          <ac:spMkLst>
            <pc:docMk/>
            <pc:sldMk cId="3277142740" sldId="327"/>
            <ac:spMk id="39" creationId="{31F5F325-7042-0663-91C8-2AEF695434BB}"/>
          </ac:spMkLst>
        </pc:spChg>
        <pc:spChg chg="del mod topLvl">
          <ac:chgData name="Zeno Eule" userId="2181db0d-9eef-459a-8936-2b35df8d15f4" providerId="ADAL" clId="{93B0B1BB-48AC-4F56-9A0A-FC3AA98A00A8}" dt="2024-05-17T14:24:38.882" v="3499" actId="478"/>
          <ac:spMkLst>
            <pc:docMk/>
            <pc:sldMk cId="3277142740" sldId="327"/>
            <ac:spMk id="40" creationId="{16CBDB67-ACC7-19D9-A2BD-085CFB50C072}"/>
          </ac:spMkLst>
        </pc:spChg>
        <pc:spChg chg="del mod topLvl">
          <ac:chgData name="Zeno Eule" userId="2181db0d-9eef-459a-8936-2b35df8d15f4" providerId="ADAL" clId="{93B0B1BB-48AC-4F56-9A0A-FC3AA98A00A8}" dt="2024-05-17T14:18:20.252" v="3186" actId="478"/>
          <ac:spMkLst>
            <pc:docMk/>
            <pc:sldMk cId="3277142740" sldId="327"/>
            <ac:spMk id="41" creationId="{A7F0698C-CB39-01C7-93C4-E2243B268DD4}"/>
          </ac:spMkLst>
        </pc:spChg>
        <pc:spChg chg="del mod topLvl">
          <ac:chgData name="Zeno Eule" userId="2181db0d-9eef-459a-8936-2b35df8d15f4" providerId="ADAL" clId="{93B0B1BB-48AC-4F56-9A0A-FC3AA98A00A8}" dt="2024-05-17T14:24:38.882" v="3499" actId="478"/>
          <ac:spMkLst>
            <pc:docMk/>
            <pc:sldMk cId="3277142740" sldId="327"/>
            <ac:spMk id="42" creationId="{29DA3C65-55B8-0C4A-54B6-769769D1E1CC}"/>
          </ac:spMkLst>
        </pc:spChg>
        <pc:spChg chg="del mod topLvl">
          <ac:chgData name="Zeno Eule" userId="2181db0d-9eef-459a-8936-2b35df8d15f4" providerId="ADAL" clId="{93B0B1BB-48AC-4F56-9A0A-FC3AA98A00A8}" dt="2024-05-17T14:24:38.882" v="3499" actId="478"/>
          <ac:spMkLst>
            <pc:docMk/>
            <pc:sldMk cId="3277142740" sldId="327"/>
            <ac:spMk id="43" creationId="{50D2F787-00F3-161E-4172-80F5E90B2F8D}"/>
          </ac:spMkLst>
        </pc:spChg>
        <pc:spChg chg="del mod topLvl">
          <ac:chgData name="Zeno Eule" userId="2181db0d-9eef-459a-8936-2b35df8d15f4" providerId="ADAL" clId="{93B0B1BB-48AC-4F56-9A0A-FC3AA98A00A8}" dt="2024-05-17T14:18:20.252" v="3186" actId="478"/>
          <ac:spMkLst>
            <pc:docMk/>
            <pc:sldMk cId="3277142740" sldId="327"/>
            <ac:spMk id="44" creationId="{4DDB4DD9-C2BA-D681-9F5D-346D0738DB1F}"/>
          </ac:spMkLst>
        </pc:spChg>
        <pc:spChg chg="mod">
          <ac:chgData name="Zeno Eule" userId="2181db0d-9eef-459a-8936-2b35df8d15f4" providerId="ADAL" clId="{93B0B1BB-48AC-4F56-9A0A-FC3AA98A00A8}" dt="2024-05-17T13:00:01.541" v="2900" actId="207"/>
          <ac:spMkLst>
            <pc:docMk/>
            <pc:sldMk cId="3277142740" sldId="327"/>
            <ac:spMk id="45" creationId="{DED615AE-506A-D551-6E9C-3FE21CB2CD21}"/>
          </ac:spMkLst>
        </pc:spChg>
        <pc:spChg chg="del mod topLvl">
          <ac:chgData name="Zeno Eule" userId="2181db0d-9eef-459a-8936-2b35df8d15f4" providerId="ADAL" clId="{93B0B1BB-48AC-4F56-9A0A-FC3AA98A00A8}" dt="2024-05-17T14:24:38.882" v="3499" actId="478"/>
          <ac:spMkLst>
            <pc:docMk/>
            <pc:sldMk cId="3277142740" sldId="327"/>
            <ac:spMk id="46" creationId="{083CDE7B-5C4D-FBF7-2F0E-B55E21C38397}"/>
          </ac:spMkLst>
        </pc:spChg>
        <pc:spChg chg="del mod topLvl">
          <ac:chgData name="Zeno Eule" userId="2181db0d-9eef-459a-8936-2b35df8d15f4" providerId="ADAL" clId="{93B0B1BB-48AC-4F56-9A0A-FC3AA98A00A8}" dt="2024-05-17T14:18:20.252" v="3186" actId="478"/>
          <ac:spMkLst>
            <pc:docMk/>
            <pc:sldMk cId="3277142740" sldId="327"/>
            <ac:spMk id="47" creationId="{8AF36F74-9415-60B6-5049-921A58150C6B}"/>
          </ac:spMkLst>
        </pc:spChg>
        <pc:spChg chg="mod">
          <ac:chgData name="Zeno Eule" userId="2181db0d-9eef-459a-8936-2b35df8d15f4" providerId="ADAL" clId="{93B0B1BB-48AC-4F56-9A0A-FC3AA98A00A8}" dt="2024-05-17T13:00:01.541" v="2900" actId="207"/>
          <ac:spMkLst>
            <pc:docMk/>
            <pc:sldMk cId="3277142740" sldId="327"/>
            <ac:spMk id="48" creationId="{555C60C6-3CDE-8906-2EF3-0CDB3CEC03E0}"/>
          </ac:spMkLst>
        </pc:spChg>
        <pc:spChg chg="del mod topLvl">
          <ac:chgData name="Zeno Eule" userId="2181db0d-9eef-459a-8936-2b35df8d15f4" providerId="ADAL" clId="{93B0B1BB-48AC-4F56-9A0A-FC3AA98A00A8}" dt="2024-05-17T14:24:38.882" v="3499" actId="478"/>
          <ac:spMkLst>
            <pc:docMk/>
            <pc:sldMk cId="3277142740" sldId="327"/>
            <ac:spMk id="49" creationId="{9AD1AFA7-EF8C-884B-A89E-ACA89F0E0B04}"/>
          </ac:spMkLst>
        </pc:spChg>
        <pc:spChg chg="del mod topLvl">
          <ac:chgData name="Zeno Eule" userId="2181db0d-9eef-459a-8936-2b35df8d15f4" providerId="ADAL" clId="{93B0B1BB-48AC-4F56-9A0A-FC3AA98A00A8}" dt="2024-05-17T14:24:38.882" v="3499" actId="478"/>
          <ac:spMkLst>
            <pc:docMk/>
            <pc:sldMk cId="3277142740" sldId="327"/>
            <ac:spMk id="50" creationId="{0C69A26A-C6F4-319D-6716-5EFAA97ACDBA}"/>
          </ac:spMkLst>
        </pc:spChg>
        <pc:spChg chg="del mod topLvl">
          <ac:chgData name="Zeno Eule" userId="2181db0d-9eef-459a-8936-2b35df8d15f4" providerId="ADAL" clId="{93B0B1BB-48AC-4F56-9A0A-FC3AA98A00A8}" dt="2024-05-17T14:18:20.252" v="3186" actId="478"/>
          <ac:spMkLst>
            <pc:docMk/>
            <pc:sldMk cId="3277142740" sldId="327"/>
            <ac:spMk id="51" creationId="{3F317CAB-64AD-27C3-C274-70A2A4499DFA}"/>
          </ac:spMkLst>
        </pc:spChg>
        <pc:spChg chg="del mod topLvl">
          <ac:chgData name="Zeno Eule" userId="2181db0d-9eef-459a-8936-2b35df8d15f4" providerId="ADAL" clId="{93B0B1BB-48AC-4F56-9A0A-FC3AA98A00A8}" dt="2024-05-17T14:24:38.882" v="3499" actId="478"/>
          <ac:spMkLst>
            <pc:docMk/>
            <pc:sldMk cId="3277142740" sldId="327"/>
            <ac:spMk id="52" creationId="{FA143AA4-FC01-7F3B-A7F0-2F1F9073F4D3}"/>
          </ac:spMkLst>
        </pc:spChg>
        <pc:spChg chg="del mod topLvl">
          <ac:chgData name="Zeno Eule" userId="2181db0d-9eef-459a-8936-2b35df8d15f4" providerId="ADAL" clId="{93B0B1BB-48AC-4F56-9A0A-FC3AA98A00A8}" dt="2024-05-17T14:18:20.252" v="3186" actId="478"/>
          <ac:spMkLst>
            <pc:docMk/>
            <pc:sldMk cId="3277142740" sldId="327"/>
            <ac:spMk id="53" creationId="{B91DE562-4B7A-F167-7CDF-434DD702A495}"/>
          </ac:spMkLst>
        </pc:spChg>
        <pc:spChg chg="del mod topLvl">
          <ac:chgData name="Zeno Eule" userId="2181db0d-9eef-459a-8936-2b35df8d15f4" providerId="ADAL" clId="{93B0B1BB-48AC-4F56-9A0A-FC3AA98A00A8}" dt="2024-05-17T14:24:38.882" v="3499" actId="478"/>
          <ac:spMkLst>
            <pc:docMk/>
            <pc:sldMk cId="3277142740" sldId="327"/>
            <ac:spMk id="54" creationId="{BD5C6DD3-6DD9-4392-FCD6-3F297337F93D}"/>
          </ac:spMkLst>
        </pc:spChg>
        <pc:spChg chg="del mod topLvl">
          <ac:chgData name="Zeno Eule" userId="2181db0d-9eef-459a-8936-2b35df8d15f4" providerId="ADAL" clId="{93B0B1BB-48AC-4F56-9A0A-FC3AA98A00A8}" dt="2024-05-17T14:18:20.252" v="3186" actId="478"/>
          <ac:spMkLst>
            <pc:docMk/>
            <pc:sldMk cId="3277142740" sldId="327"/>
            <ac:spMk id="55" creationId="{4094EDB9-A286-F610-13CF-44595E70BAB3}"/>
          </ac:spMkLst>
        </pc:spChg>
        <pc:spChg chg="del mod topLvl">
          <ac:chgData name="Zeno Eule" userId="2181db0d-9eef-459a-8936-2b35df8d15f4" providerId="ADAL" clId="{93B0B1BB-48AC-4F56-9A0A-FC3AA98A00A8}" dt="2024-05-17T14:24:38.882" v="3499" actId="478"/>
          <ac:spMkLst>
            <pc:docMk/>
            <pc:sldMk cId="3277142740" sldId="327"/>
            <ac:spMk id="56" creationId="{C3D1AB0C-01E8-0E06-E0FB-CE95867F7462}"/>
          </ac:spMkLst>
        </pc:spChg>
        <pc:spChg chg="del mod topLvl">
          <ac:chgData name="Zeno Eule" userId="2181db0d-9eef-459a-8936-2b35df8d15f4" providerId="ADAL" clId="{93B0B1BB-48AC-4F56-9A0A-FC3AA98A00A8}" dt="2024-05-17T14:18:20.252" v="3186" actId="478"/>
          <ac:spMkLst>
            <pc:docMk/>
            <pc:sldMk cId="3277142740" sldId="327"/>
            <ac:spMk id="57" creationId="{0491FCB5-612E-FFA6-203E-A0FB83F13CDC}"/>
          </ac:spMkLst>
        </pc:spChg>
        <pc:spChg chg="del mod topLvl">
          <ac:chgData name="Zeno Eule" userId="2181db0d-9eef-459a-8936-2b35df8d15f4" providerId="ADAL" clId="{93B0B1BB-48AC-4F56-9A0A-FC3AA98A00A8}" dt="2024-05-17T14:24:38.882" v="3499" actId="478"/>
          <ac:spMkLst>
            <pc:docMk/>
            <pc:sldMk cId="3277142740" sldId="327"/>
            <ac:spMk id="58" creationId="{235A7ABC-89AD-93CA-A570-2643449CDC91}"/>
          </ac:spMkLst>
        </pc:spChg>
        <pc:spChg chg="del mod topLvl">
          <ac:chgData name="Zeno Eule" userId="2181db0d-9eef-459a-8936-2b35df8d15f4" providerId="ADAL" clId="{93B0B1BB-48AC-4F56-9A0A-FC3AA98A00A8}" dt="2024-05-17T14:18:20.252" v="3186" actId="478"/>
          <ac:spMkLst>
            <pc:docMk/>
            <pc:sldMk cId="3277142740" sldId="327"/>
            <ac:spMk id="59" creationId="{37CAFEBD-8A0C-122A-44FA-E7F5959DC85D}"/>
          </ac:spMkLst>
        </pc:spChg>
        <pc:spChg chg="del mod topLvl">
          <ac:chgData name="Zeno Eule" userId="2181db0d-9eef-459a-8936-2b35df8d15f4" providerId="ADAL" clId="{93B0B1BB-48AC-4F56-9A0A-FC3AA98A00A8}" dt="2024-05-17T14:24:38.882" v="3499" actId="478"/>
          <ac:spMkLst>
            <pc:docMk/>
            <pc:sldMk cId="3277142740" sldId="327"/>
            <ac:spMk id="60" creationId="{7203F872-8942-59A9-7835-A899EBC01264}"/>
          </ac:spMkLst>
        </pc:spChg>
        <pc:spChg chg="del mod">
          <ac:chgData name="Zeno Eule" userId="2181db0d-9eef-459a-8936-2b35df8d15f4" providerId="ADAL" clId="{93B0B1BB-48AC-4F56-9A0A-FC3AA98A00A8}" dt="2024-05-17T13:50:16.844" v="2980" actId="478"/>
          <ac:spMkLst>
            <pc:docMk/>
            <pc:sldMk cId="3277142740" sldId="327"/>
            <ac:spMk id="81" creationId="{3AFD914F-D34B-7613-8543-4943CABBB3EE}"/>
          </ac:spMkLst>
        </pc:spChg>
        <pc:grpChg chg="del mod">
          <ac:chgData name="Zeno Eule" userId="2181db0d-9eef-459a-8936-2b35df8d15f4" providerId="ADAL" clId="{93B0B1BB-48AC-4F56-9A0A-FC3AA98A00A8}" dt="2024-05-17T14:08:14.883" v="3006" actId="165"/>
          <ac:grpSpMkLst>
            <pc:docMk/>
            <pc:sldMk cId="3277142740" sldId="327"/>
            <ac:grpSpMk id="5" creationId="{A8FCC2B9-BBD4-BA8F-885E-1890B319347D}"/>
          </ac:grpSpMkLst>
        </pc:grpChg>
        <pc:grpChg chg="del mod">
          <ac:chgData name="Zeno Eule" userId="2181db0d-9eef-459a-8936-2b35df8d15f4" providerId="ADAL" clId="{93B0B1BB-48AC-4F56-9A0A-FC3AA98A00A8}" dt="2024-05-17T14:13:25.193" v="3168" actId="165"/>
          <ac:grpSpMkLst>
            <pc:docMk/>
            <pc:sldMk cId="3277142740" sldId="327"/>
            <ac:grpSpMk id="27" creationId="{87A10A84-A1FC-9C1F-CADE-4421FD1BB0D2}"/>
          </ac:grpSpMkLst>
        </pc:grpChg>
        <pc:graphicFrameChg chg="add del mod modGraphic">
          <ac:chgData name="Zeno Eule" userId="2181db0d-9eef-459a-8936-2b35df8d15f4" providerId="ADAL" clId="{93B0B1BB-48AC-4F56-9A0A-FC3AA98A00A8}" dt="2024-05-17T14:13:17.119" v="3167" actId="18245"/>
          <ac:graphicFrameMkLst>
            <pc:docMk/>
            <pc:sldMk cId="3277142740" sldId="327"/>
            <ac:graphicFrameMk id="24" creationId="{7047A1A4-0E10-026E-4DDC-33969BB3D070}"/>
          </ac:graphicFrameMkLst>
        </pc:graphicFrameChg>
        <pc:graphicFrameChg chg="add del modGraphic">
          <ac:chgData name="Zeno Eule" userId="2181db0d-9eef-459a-8936-2b35df8d15f4" providerId="ADAL" clId="{93B0B1BB-48AC-4F56-9A0A-FC3AA98A00A8}" dt="2024-05-17T14:17:22.193" v="3173" actId="478"/>
          <ac:graphicFrameMkLst>
            <pc:docMk/>
            <pc:sldMk cId="3277142740" sldId="327"/>
            <ac:graphicFrameMk id="61" creationId="{DA31A46B-955B-5D2A-3150-3C9C6E515161}"/>
          </ac:graphicFrameMkLst>
        </pc:graphicFrameChg>
        <pc:graphicFrameChg chg="add mod modGraphic">
          <ac:chgData name="Zeno Eule" userId="2181db0d-9eef-459a-8936-2b35df8d15f4" providerId="ADAL" clId="{93B0B1BB-48AC-4F56-9A0A-FC3AA98A00A8}" dt="2024-05-17T14:27:23.171" v="3548" actId="1582"/>
          <ac:graphicFrameMkLst>
            <pc:docMk/>
            <pc:sldMk cId="3277142740" sldId="327"/>
            <ac:graphicFrameMk id="67" creationId="{9631E73E-D868-2BF8-78D0-C99017BE4FF0}"/>
          </ac:graphicFrameMkLst>
        </pc:graphicFrameChg>
        <pc:graphicFrameChg chg="del mod">
          <ac:chgData name="Zeno Eule" userId="2181db0d-9eef-459a-8936-2b35df8d15f4" providerId="ADAL" clId="{93B0B1BB-48AC-4F56-9A0A-FC3AA98A00A8}" dt="2024-05-17T14:08:12.352" v="3005" actId="18245"/>
          <ac:graphicFrameMkLst>
            <pc:docMk/>
            <pc:sldMk cId="3277142740" sldId="327"/>
            <ac:graphicFrameMk id="119" creationId="{AF6D116A-C3BF-3C34-A8FF-44B7218F4F2B}"/>
          </ac:graphicFrameMkLst>
        </pc:graphicFrameChg>
        <pc:cxnChg chg="add del mod">
          <ac:chgData name="Zeno Eule" userId="2181db0d-9eef-459a-8936-2b35df8d15f4" providerId="ADAL" clId="{93B0B1BB-48AC-4F56-9A0A-FC3AA98A00A8}" dt="2024-05-17T14:24:38.882" v="3499" actId="478"/>
          <ac:cxnSpMkLst>
            <pc:docMk/>
            <pc:sldMk cId="3277142740" sldId="327"/>
            <ac:cxnSpMk id="64" creationId="{0A17536E-ED2F-E405-F883-8ACC4403327C}"/>
          </ac:cxnSpMkLst>
        </pc:cxnChg>
      </pc:sldChg>
      <pc:sldChg chg="modSp mod">
        <pc:chgData name="Zeno Eule" userId="2181db0d-9eef-459a-8936-2b35df8d15f4" providerId="ADAL" clId="{93B0B1BB-48AC-4F56-9A0A-FC3AA98A00A8}" dt="2024-05-16T20:18:25.201" v="2877" actId="207"/>
        <pc:sldMkLst>
          <pc:docMk/>
          <pc:sldMk cId="1492285840" sldId="328"/>
        </pc:sldMkLst>
        <pc:graphicFrameChg chg="mod modGraphic">
          <ac:chgData name="Zeno Eule" userId="2181db0d-9eef-459a-8936-2b35df8d15f4" providerId="ADAL" clId="{93B0B1BB-48AC-4F56-9A0A-FC3AA98A00A8}" dt="2024-05-16T20:18:25.201" v="2877" actId="207"/>
          <ac:graphicFrameMkLst>
            <pc:docMk/>
            <pc:sldMk cId="1492285840" sldId="328"/>
            <ac:graphicFrameMk id="7" creationId="{8E6D05DA-6799-4773-E750-23E1C40BA5A5}"/>
          </ac:graphicFrameMkLst>
        </pc:graphicFrameChg>
      </pc:sldChg>
      <pc:sldChg chg="modSp mod">
        <pc:chgData name="Zeno Eule" userId="2181db0d-9eef-459a-8936-2b35df8d15f4" providerId="ADAL" clId="{93B0B1BB-48AC-4F56-9A0A-FC3AA98A00A8}" dt="2024-05-16T20:18:48.308" v="2881" actId="207"/>
        <pc:sldMkLst>
          <pc:docMk/>
          <pc:sldMk cId="4279249451" sldId="329"/>
        </pc:sldMkLst>
        <pc:graphicFrameChg chg="mod modGraphic">
          <ac:chgData name="Zeno Eule" userId="2181db0d-9eef-459a-8936-2b35df8d15f4" providerId="ADAL" clId="{93B0B1BB-48AC-4F56-9A0A-FC3AA98A00A8}" dt="2024-05-16T20:18:48.308" v="2881" actId="207"/>
          <ac:graphicFrameMkLst>
            <pc:docMk/>
            <pc:sldMk cId="4279249451" sldId="329"/>
            <ac:graphicFrameMk id="7" creationId="{8E6D05DA-6799-4773-E750-23E1C40BA5A5}"/>
          </ac:graphicFrameMkLst>
        </pc:graphicFrameChg>
      </pc:sldChg>
      <pc:sldChg chg="addSp delSp modSp mod">
        <pc:chgData name="Zeno Eule" userId="2181db0d-9eef-459a-8936-2b35df8d15f4" providerId="ADAL" clId="{93B0B1BB-48AC-4F56-9A0A-FC3AA98A00A8}" dt="2024-05-17T14:19:14.748" v="3196" actId="20577"/>
        <pc:sldMkLst>
          <pc:docMk/>
          <pc:sldMk cId="636850645" sldId="330"/>
        </pc:sldMkLst>
        <pc:spChg chg="mod topLvl">
          <ac:chgData name="Zeno Eule" userId="2181db0d-9eef-459a-8936-2b35df8d15f4" providerId="ADAL" clId="{93B0B1BB-48AC-4F56-9A0A-FC3AA98A00A8}" dt="2024-05-17T13:03:47.172" v="2966" actId="554"/>
          <ac:spMkLst>
            <pc:docMk/>
            <pc:sldMk cId="636850645" sldId="330"/>
            <ac:spMk id="25" creationId="{AF50A492-B016-E8BE-92C2-E5C7EC0C2F59}"/>
          </ac:spMkLst>
        </pc:spChg>
        <pc:spChg chg="mod">
          <ac:chgData name="Zeno Eule" userId="2181db0d-9eef-459a-8936-2b35df8d15f4" providerId="ADAL" clId="{93B0B1BB-48AC-4F56-9A0A-FC3AA98A00A8}" dt="2024-05-17T13:03:47.172" v="2966" actId="554"/>
          <ac:spMkLst>
            <pc:docMk/>
            <pc:sldMk cId="636850645" sldId="330"/>
            <ac:spMk id="45" creationId="{DED615AE-506A-D551-6E9C-3FE21CB2CD21}"/>
          </ac:spMkLst>
        </pc:spChg>
        <pc:spChg chg="mod">
          <ac:chgData name="Zeno Eule" userId="2181db0d-9eef-459a-8936-2b35df8d15f4" providerId="ADAL" clId="{93B0B1BB-48AC-4F56-9A0A-FC3AA98A00A8}" dt="2024-05-17T13:03:47.172" v="2966" actId="554"/>
          <ac:spMkLst>
            <pc:docMk/>
            <pc:sldMk cId="636850645" sldId="330"/>
            <ac:spMk id="48" creationId="{555C60C6-3CDE-8906-2EF3-0CDB3CEC03E0}"/>
          </ac:spMkLst>
        </pc:spChg>
        <pc:grpChg chg="add del mod">
          <ac:chgData name="Zeno Eule" userId="2181db0d-9eef-459a-8936-2b35df8d15f4" providerId="ADAL" clId="{93B0B1BB-48AC-4F56-9A0A-FC3AA98A00A8}" dt="2024-05-17T12:59:24.627" v="2898" actId="165"/>
          <ac:grpSpMkLst>
            <pc:docMk/>
            <pc:sldMk cId="636850645" sldId="330"/>
            <ac:grpSpMk id="4" creationId="{360F04AE-8CEB-C926-CC09-D7D521A1989B}"/>
          </ac:grpSpMkLst>
        </pc:grpChg>
        <pc:graphicFrameChg chg="mod topLvl">
          <ac:chgData name="Zeno Eule" userId="2181db0d-9eef-459a-8936-2b35df8d15f4" providerId="ADAL" clId="{93B0B1BB-48AC-4F56-9A0A-FC3AA98A00A8}" dt="2024-05-17T12:59:24.627" v="2898" actId="165"/>
          <ac:graphicFrameMkLst>
            <pc:docMk/>
            <pc:sldMk cId="636850645" sldId="330"/>
            <ac:graphicFrameMk id="39" creationId="{DA0A86B0-0CE2-40A9-A1B7-234403706DDF}"/>
          </ac:graphicFrameMkLst>
        </pc:graphicFrameChg>
        <pc:graphicFrameChg chg="mod">
          <ac:chgData name="Zeno Eule" userId="2181db0d-9eef-459a-8936-2b35df8d15f4" providerId="ADAL" clId="{93B0B1BB-48AC-4F56-9A0A-FC3AA98A00A8}" dt="2024-05-17T14:19:14.748" v="3196" actId="20577"/>
          <ac:graphicFrameMkLst>
            <pc:docMk/>
            <pc:sldMk cId="636850645" sldId="330"/>
            <ac:graphicFrameMk id="62" creationId="{C949489E-A3AC-18FE-5AEA-B3B090AFAE65}"/>
          </ac:graphicFrameMkLst>
        </pc:graphicFrameChg>
      </pc:sldChg>
      <pc:sldChg chg="addSp delSp modSp new del mod">
        <pc:chgData name="Zeno Eule" userId="2181db0d-9eef-459a-8936-2b35df8d15f4" providerId="ADAL" clId="{93B0B1BB-48AC-4F56-9A0A-FC3AA98A00A8}" dt="2024-05-17T17:02:50.346" v="4156" actId="47"/>
        <pc:sldMkLst>
          <pc:docMk/>
          <pc:sldMk cId="1929825077" sldId="333"/>
        </pc:sldMkLst>
        <pc:spChg chg="add mod">
          <ac:chgData name="Zeno Eule" userId="2181db0d-9eef-459a-8936-2b35df8d15f4" providerId="ADAL" clId="{93B0B1BB-48AC-4F56-9A0A-FC3AA98A00A8}" dt="2024-05-17T16:53:51.287" v="4125" actId="164"/>
          <ac:spMkLst>
            <pc:docMk/>
            <pc:sldMk cId="1929825077" sldId="333"/>
            <ac:spMk id="5" creationId="{C9FF4152-98C2-8A57-4D19-966A433F1334}"/>
          </ac:spMkLst>
        </pc:spChg>
        <pc:spChg chg="add mod">
          <ac:chgData name="Zeno Eule" userId="2181db0d-9eef-459a-8936-2b35df8d15f4" providerId="ADAL" clId="{93B0B1BB-48AC-4F56-9A0A-FC3AA98A00A8}" dt="2024-05-17T16:55:37.991" v="4142" actId="164"/>
          <ac:spMkLst>
            <pc:docMk/>
            <pc:sldMk cId="1929825077" sldId="333"/>
            <ac:spMk id="10" creationId="{CA7FCBB4-02B0-DF14-73C6-032ADF944735}"/>
          </ac:spMkLst>
        </pc:spChg>
        <pc:grpChg chg="add mod">
          <ac:chgData name="Zeno Eule" userId="2181db0d-9eef-459a-8936-2b35df8d15f4" providerId="ADAL" clId="{93B0B1BB-48AC-4F56-9A0A-FC3AA98A00A8}" dt="2024-05-17T16:55:03.937" v="4132" actId="1076"/>
          <ac:grpSpMkLst>
            <pc:docMk/>
            <pc:sldMk cId="1929825077" sldId="333"/>
            <ac:grpSpMk id="6" creationId="{66913C7B-2E8E-71EE-CD05-C683A55AA1D8}"/>
          </ac:grpSpMkLst>
        </pc:grpChg>
        <pc:grpChg chg="add mod">
          <ac:chgData name="Zeno Eule" userId="2181db0d-9eef-459a-8936-2b35df8d15f4" providerId="ADAL" clId="{93B0B1BB-48AC-4F56-9A0A-FC3AA98A00A8}" dt="2024-05-17T16:55:37.991" v="4142" actId="164"/>
          <ac:grpSpMkLst>
            <pc:docMk/>
            <pc:sldMk cId="1929825077" sldId="333"/>
            <ac:grpSpMk id="11" creationId="{9856F0F0-593F-B34F-D2BD-3527F53E10E8}"/>
          </ac:grpSpMkLst>
        </pc:grpChg>
        <pc:picChg chg="add mod modCrop">
          <ac:chgData name="Zeno Eule" userId="2181db0d-9eef-459a-8936-2b35df8d15f4" providerId="ADAL" clId="{93B0B1BB-48AC-4F56-9A0A-FC3AA98A00A8}" dt="2024-05-17T16:53:51.287" v="4125" actId="164"/>
          <ac:picMkLst>
            <pc:docMk/>
            <pc:sldMk cId="1929825077" sldId="333"/>
            <ac:picMk id="4" creationId="{D4FE8383-F670-C99D-BC54-520FA69AF933}"/>
          </ac:picMkLst>
        </pc:picChg>
        <pc:picChg chg="add del mod">
          <ac:chgData name="Zeno Eule" userId="2181db0d-9eef-459a-8936-2b35df8d15f4" providerId="ADAL" clId="{93B0B1BB-48AC-4F56-9A0A-FC3AA98A00A8}" dt="2024-05-17T16:55:01.643" v="4131" actId="478"/>
          <ac:picMkLst>
            <pc:docMk/>
            <pc:sldMk cId="1929825077" sldId="333"/>
            <ac:picMk id="8" creationId="{8B9F4447-8E5E-F3E8-0C94-7A6EB0B3D781}"/>
          </ac:picMkLst>
        </pc:picChg>
        <pc:picChg chg="add mod">
          <ac:chgData name="Zeno Eule" userId="2181db0d-9eef-459a-8936-2b35df8d15f4" providerId="ADAL" clId="{93B0B1BB-48AC-4F56-9A0A-FC3AA98A00A8}" dt="2024-05-17T16:55:37.991" v="4142" actId="164"/>
          <ac:picMkLst>
            <pc:docMk/>
            <pc:sldMk cId="1929825077" sldId="333"/>
            <ac:picMk id="9" creationId="{D5D656BC-E63E-F649-B8E6-DA3EB0861231}"/>
          </ac:picMkLst>
        </pc:picChg>
      </pc:sldChg>
      <pc:sldMasterChg chg="addSp delSp modSp mod modSldLayout">
        <pc:chgData name="Zeno Eule" userId="2181db0d-9eef-459a-8936-2b35df8d15f4" providerId="ADAL" clId="{93B0B1BB-48AC-4F56-9A0A-FC3AA98A00A8}" dt="2024-05-14T06:55:29.326" v="1154" actId="20577"/>
        <pc:sldMasterMkLst>
          <pc:docMk/>
          <pc:sldMasterMk cId="3249716214" sldId="2147483661"/>
        </pc:sldMasterMkLst>
        <pc:spChg chg="add del mod">
          <ac:chgData name="Zeno Eule" userId="2181db0d-9eef-459a-8936-2b35df8d15f4" providerId="ADAL" clId="{93B0B1BB-48AC-4F56-9A0A-FC3AA98A00A8}" dt="2024-05-09T21:34:05.686" v="146" actId="21"/>
          <ac:spMkLst>
            <pc:docMk/>
            <pc:sldMasterMk cId="3249716214" sldId="2147483661"/>
            <ac:spMk id="2" creationId="{821692A0-AFD1-F4F8-6D96-45F8EE8A0A02}"/>
          </ac:spMkLst>
        </pc:spChg>
        <pc:graphicFrameChg chg="add mod modVis replST">
          <ac:chgData name="Zeno Eule" userId="2181db0d-9eef-459a-8936-2b35df8d15f4" providerId="ADAL" clId="{93B0B1BB-48AC-4F56-9A0A-FC3AA98A00A8}" dt="2024-05-10T08:42:57.496" v="706"/>
          <ac:graphicFrameMkLst>
            <pc:docMk/>
            <pc:sldMasterMk cId="3249716214" sldId="2147483661"/>
            <ac:graphicFrameMk id="2" creationId="{7C567F1D-BFC9-7F46-7F7C-40F3C5494DCC}"/>
          </ac:graphicFrameMkLst>
        </pc:graphicFrameChg>
        <pc:sldLayoutChg chg="addSp delSp modSp mod">
          <pc:chgData name="Zeno Eule" userId="2181db0d-9eef-459a-8936-2b35df8d15f4" providerId="ADAL" clId="{93B0B1BB-48AC-4F56-9A0A-FC3AA98A00A8}" dt="2024-05-14T06:55:24.432" v="1152" actId="20577"/>
          <pc:sldLayoutMkLst>
            <pc:docMk/>
            <pc:sldMasterMk cId="3249716214" sldId="2147483661"/>
            <pc:sldLayoutMk cId="3750836285" sldId="2147483662"/>
          </pc:sldLayoutMkLst>
          <pc:spChg chg="add mod">
            <ac:chgData name="Zeno Eule" userId="2181db0d-9eef-459a-8936-2b35df8d15f4" providerId="ADAL" clId="{93B0B1BB-48AC-4F56-9A0A-FC3AA98A00A8}" dt="2024-05-14T06:55:24.432" v="1152" actId="20577"/>
            <ac:spMkLst>
              <pc:docMk/>
              <pc:sldMasterMk cId="3249716214" sldId="2147483661"/>
              <pc:sldLayoutMk cId="3750836285" sldId="2147483662"/>
              <ac:spMk id="2" creationId="{821692A0-AFD1-F4F8-6D96-45F8EE8A0A02}"/>
            </ac:spMkLst>
          </pc:spChg>
          <pc:spChg chg="add mod">
            <ac:chgData name="Zeno Eule" userId="2181db0d-9eef-459a-8936-2b35df8d15f4" providerId="ADAL" clId="{93B0B1BB-48AC-4F56-9A0A-FC3AA98A00A8}" dt="2024-05-13T21:45:21.694" v="1008" actId="14100"/>
            <ac:spMkLst>
              <pc:docMk/>
              <pc:sldMasterMk cId="3249716214" sldId="2147483661"/>
              <pc:sldLayoutMk cId="3750836285" sldId="2147483662"/>
              <ac:spMk id="3" creationId="{B9953D7F-389A-9FBE-7449-532A91327CAB}"/>
            </ac:spMkLst>
          </pc:spChg>
          <pc:spChg chg="del mod">
            <ac:chgData name="Zeno Eule" userId="2181db0d-9eef-459a-8936-2b35df8d15f4" providerId="ADAL" clId="{93B0B1BB-48AC-4F56-9A0A-FC3AA98A00A8}" dt="2024-05-09T21:33:24.963" v="142" actId="478"/>
            <ac:spMkLst>
              <pc:docMk/>
              <pc:sldMasterMk cId="3249716214" sldId="2147483661"/>
              <pc:sldLayoutMk cId="3750836285" sldId="2147483662"/>
              <ac:spMk id="8" creationId="{00000000-0000-0000-0000-000000000000}"/>
            </ac:spMkLst>
          </pc:spChg>
          <pc:spChg chg="del mod">
            <ac:chgData name="Zeno Eule" userId="2181db0d-9eef-459a-8936-2b35df8d15f4" providerId="ADAL" clId="{93B0B1BB-48AC-4F56-9A0A-FC3AA98A00A8}" dt="2024-05-13T21:45:15.915" v="1005" actId="478"/>
            <ac:spMkLst>
              <pc:docMk/>
              <pc:sldMasterMk cId="3249716214" sldId="2147483661"/>
              <pc:sldLayoutMk cId="3750836285" sldId="2147483662"/>
              <ac:spMk id="9" creationId="{00000000-0000-0000-0000-000000000000}"/>
            </ac:spMkLst>
          </pc:spChg>
        </pc:sldLayoutChg>
        <pc:sldLayoutChg chg="delSp mod">
          <pc:chgData name="Zeno Eule" userId="2181db0d-9eef-459a-8936-2b35df8d15f4" providerId="ADAL" clId="{93B0B1BB-48AC-4F56-9A0A-FC3AA98A00A8}" dt="2024-05-09T21:33:28.576" v="143" actId="478"/>
          <pc:sldLayoutMkLst>
            <pc:docMk/>
            <pc:sldMasterMk cId="3249716214" sldId="2147483661"/>
            <pc:sldLayoutMk cId="3242066465" sldId="2147483663"/>
          </pc:sldLayoutMkLst>
          <pc:spChg chg="del">
            <ac:chgData name="Zeno Eule" userId="2181db0d-9eef-459a-8936-2b35df8d15f4" providerId="ADAL" clId="{93B0B1BB-48AC-4F56-9A0A-FC3AA98A00A8}" dt="2024-05-09T21:33:28.576" v="143" actId="478"/>
            <ac:spMkLst>
              <pc:docMk/>
              <pc:sldMasterMk cId="3249716214" sldId="2147483661"/>
              <pc:sldLayoutMk cId="3242066465" sldId="2147483663"/>
              <ac:spMk id="8" creationId="{00000000-0000-0000-0000-000000000000}"/>
            </ac:spMkLst>
          </pc:spChg>
        </pc:sldLayoutChg>
        <pc:sldLayoutChg chg="delSp mod">
          <pc:chgData name="Zeno Eule" userId="2181db0d-9eef-459a-8936-2b35df8d15f4" providerId="ADAL" clId="{93B0B1BB-48AC-4F56-9A0A-FC3AA98A00A8}" dt="2024-05-09T21:33:30.763" v="144" actId="478"/>
          <pc:sldLayoutMkLst>
            <pc:docMk/>
            <pc:sldMasterMk cId="3249716214" sldId="2147483661"/>
            <pc:sldLayoutMk cId="1623443730" sldId="2147483666"/>
          </pc:sldLayoutMkLst>
          <pc:spChg chg="del">
            <ac:chgData name="Zeno Eule" userId="2181db0d-9eef-459a-8936-2b35df8d15f4" providerId="ADAL" clId="{93B0B1BB-48AC-4F56-9A0A-FC3AA98A00A8}" dt="2024-05-09T21:33:30.763" v="144" actId="478"/>
            <ac:spMkLst>
              <pc:docMk/>
              <pc:sldMasterMk cId="3249716214" sldId="2147483661"/>
              <pc:sldLayoutMk cId="1623443730" sldId="2147483666"/>
              <ac:spMk id="8" creationId="{00000000-0000-0000-0000-000000000000}"/>
            </ac:spMkLst>
          </pc:spChg>
        </pc:sldLayoutChg>
        <pc:sldLayoutChg chg="addSp modSp mod">
          <pc:chgData name="Zeno Eule" userId="2181db0d-9eef-459a-8936-2b35df8d15f4" providerId="ADAL" clId="{93B0B1BB-48AC-4F56-9A0A-FC3AA98A00A8}" dt="2024-05-14T06:55:29.326" v="1154" actId="20577"/>
          <pc:sldLayoutMkLst>
            <pc:docMk/>
            <pc:sldMasterMk cId="3249716214" sldId="2147483661"/>
            <pc:sldLayoutMk cId="1218439316" sldId="2147483667"/>
          </pc:sldLayoutMkLst>
          <pc:spChg chg="mod">
            <ac:chgData name="Zeno Eule" userId="2181db0d-9eef-459a-8936-2b35df8d15f4" providerId="ADAL" clId="{93B0B1BB-48AC-4F56-9A0A-FC3AA98A00A8}" dt="2024-05-14T06:55:29.326" v="1154" actId="20577"/>
            <ac:spMkLst>
              <pc:docMk/>
              <pc:sldMasterMk cId="3249716214" sldId="2147483661"/>
              <pc:sldLayoutMk cId="1218439316" sldId="2147483667"/>
              <ac:spMk id="2" creationId="{821692A0-AFD1-F4F8-6D96-45F8EE8A0A02}"/>
            </ac:spMkLst>
          </pc:spChg>
          <pc:spChg chg="add mod">
            <ac:chgData name="Zeno Eule" userId="2181db0d-9eef-459a-8936-2b35df8d15f4" providerId="ADAL" clId="{93B0B1BB-48AC-4F56-9A0A-FC3AA98A00A8}" dt="2024-05-13T21:45:02.681" v="1004" actId="1035"/>
            <ac:spMkLst>
              <pc:docMk/>
              <pc:sldMasterMk cId="3249716214" sldId="2147483661"/>
              <pc:sldLayoutMk cId="1218439316" sldId="2147483667"/>
              <ac:spMk id="3" creationId="{5979658C-8C79-8456-F3A7-5EA570378CBA}"/>
            </ac:spMkLst>
          </pc:spChg>
          <pc:spChg chg="mod">
            <ac:chgData name="Zeno Eule" userId="2181db0d-9eef-459a-8936-2b35df8d15f4" providerId="ADAL" clId="{93B0B1BB-48AC-4F56-9A0A-FC3AA98A00A8}" dt="2024-05-13T21:45:02.681" v="1004" actId="1035"/>
            <ac:spMkLst>
              <pc:docMk/>
              <pc:sldMasterMk cId="3249716214" sldId="2147483661"/>
              <pc:sldLayoutMk cId="1218439316" sldId="2147483667"/>
              <ac:spMk id="9" creationId="{00000000-0000-0000-0000-000000000000}"/>
            </ac:spMkLst>
          </pc:spChg>
        </pc:sldLayoutChg>
      </pc:sldMasterChg>
    </pc:docChg>
  </pc:docChgLst>
  <pc:docChgLst>
    <pc:chgData name="Moritz Lind" userId="S::61230@novasbe.pt::3c46de29-e3d8-46a3-bade-23b6b6ccc123" providerId="AD" clId="Web-{0657CF67-0860-E58A-EF2D-3341D6D74106}"/>
    <pc:docChg chg="delSld sldOrd addSection modSection">
      <pc:chgData name="Moritz Lind" userId="S::61230@novasbe.pt::3c46de29-e3d8-46a3-bade-23b6b6ccc123" providerId="AD" clId="Web-{0657CF67-0860-E58A-EF2D-3341D6D74106}" dt="2024-05-17T09:37:48.528" v="14"/>
      <pc:docMkLst>
        <pc:docMk/>
      </pc:docMkLst>
      <pc:sldChg chg="ord">
        <pc:chgData name="Moritz Lind" userId="S::61230@novasbe.pt::3c46de29-e3d8-46a3-bade-23b6b6ccc123" providerId="AD" clId="Web-{0657CF67-0860-E58A-EF2D-3341D6D74106}" dt="2024-05-17T09:37:39.464" v="12"/>
        <pc:sldMkLst>
          <pc:docMk/>
          <pc:sldMk cId="645465889" sldId="309"/>
        </pc:sldMkLst>
      </pc:sldChg>
      <pc:sldChg chg="ord">
        <pc:chgData name="Moritz Lind" userId="S::61230@novasbe.pt::3c46de29-e3d8-46a3-bade-23b6b6ccc123" providerId="AD" clId="Web-{0657CF67-0860-E58A-EF2D-3341D6D74106}" dt="2024-05-17T09:36:55.791" v="7"/>
        <pc:sldMkLst>
          <pc:docMk/>
          <pc:sldMk cId="3250682429" sldId="310"/>
        </pc:sldMkLst>
      </pc:sldChg>
      <pc:sldChg chg="ord">
        <pc:chgData name="Moritz Lind" userId="S::61230@novasbe.pt::3c46de29-e3d8-46a3-bade-23b6b6ccc123" providerId="AD" clId="Web-{0657CF67-0860-E58A-EF2D-3341D6D74106}" dt="2024-05-17T09:36:52.135" v="5"/>
        <pc:sldMkLst>
          <pc:docMk/>
          <pc:sldMk cId="3877959827" sldId="313"/>
        </pc:sldMkLst>
      </pc:sldChg>
      <pc:sldChg chg="ord">
        <pc:chgData name="Moritz Lind" userId="S::61230@novasbe.pt::3c46de29-e3d8-46a3-bade-23b6b6ccc123" providerId="AD" clId="Web-{0657CF67-0860-E58A-EF2D-3341D6D74106}" dt="2024-05-17T09:36:53.900" v="6"/>
        <pc:sldMkLst>
          <pc:docMk/>
          <pc:sldMk cId="378897943" sldId="315"/>
        </pc:sldMkLst>
      </pc:sldChg>
      <pc:sldChg chg="del">
        <pc:chgData name="Moritz Lind" userId="S::61230@novasbe.pt::3c46de29-e3d8-46a3-bade-23b6b6ccc123" providerId="AD" clId="Web-{0657CF67-0860-E58A-EF2D-3341D6D74106}" dt="2024-05-17T09:35:19.178" v="1"/>
        <pc:sldMkLst>
          <pc:docMk/>
          <pc:sldMk cId="2883737098" sldId="319"/>
        </pc:sldMkLst>
      </pc:sldChg>
    </pc:docChg>
  </pc:docChgLst>
  <pc:docChgLst>
    <pc:chgData name="Tomás Shoemaker Simão Gonçalves" userId="a9d62b8f-9215-4dfe-a3e5-2ecfc4b3dd9a" providerId="ADAL" clId="{E69AC1FB-9437-4EFA-B5DB-40B9B6E2644C}"/>
    <pc:docChg chg="undo custSel addSld modSld">
      <pc:chgData name="Tomás Shoemaker Simão Gonçalves" userId="a9d62b8f-9215-4dfe-a3e5-2ecfc4b3dd9a" providerId="ADAL" clId="{E69AC1FB-9437-4EFA-B5DB-40B9B6E2644C}" dt="2024-05-17T18:49:00.289" v="4127" actId="20577"/>
      <pc:docMkLst>
        <pc:docMk/>
      </pc:docMkLst>
      <pc:sldChg chg="modSp mod">
        <pc:chgData name="Tomás Shoemaker Simão Gonçalves" userId="a9d62b8f-9215-4dfe-a3e5-2ecfc4b3dd9a" providerId="ADAL" clId="{E69AC1FB-9437-4EFA-B5DB-40B9B6E2644C}" dt="2024-05-17T15:04:08.524" v="4070" actId="20577"/>
        <pc:sldMkLst>
          <pc:docMk/>
          <pc:sldMk cId="2401001035" sldId="300"/>
        </pc:sldMkLst>
        <pc:spChg chg="mod">
          <ac:chgData name="Tomás Shoemaker Simão Gonçalves" userId="a9d62b8f-9215-4dfe-a3e5-2ecfc4b3dd9a" providerId="ADAL" clId="{E69AC1FB-9437-4EFA-B5DB-40B9B6E2644C}" dt="2024-05-17T15:04:08.524" v="4070" actId="20577"/>
          <ac:spMkLst>
            <pc:docMk/>
            <pc:sldMk cId="2401001035" sldId="300"/>
            <ac:spMk id="4" creationId="{6C9FD9ED-BDC2-080D-7C01-5BD5C9EFD45C}"/>
          </ac:spMkLst>
        </pc:spChg>
      </pc:sldChg>
      <pc:sldChg chg="modSp mod modCm">
        <pc:chgData name="Tomás Shoemaker Simão Gonçalves" userId="a9d62b8f-9215-4dfe-a3e5-2ecfc4b3dd9a" providerId="ADAL" clId="{E69AC1FB-9437-4EFA-B5DB-40B9B6E2644C}" dt="2024-05-16T14:58:12.513" v="2143" actId="20577"/>
        <pc:sldMkLst>
          <pc:docMk/>
          <pc:sldMk cId="127659681" sldId="306"/>
        </pc:sldMkLst>
        <pc:spChg chg="mod">
          <ac:chgData name="Tomás Shoemaker Simão Gonçalves" userId="a9d62b8f-9215-4dfe-a3e5-2ecfc4b3dd9a" providerId="ADAL" clId="{E69AC1FB-9437-4EFA-B5DB-40B9B6E2644C}" dt="2024-05-15T13:46:08.089" v="30" actId="20577"/>
          <ac:spMkLst>
            <pc:docMk/>
            <pc:sldMk cId="127659681" sldId="306"/>
            <ac:spMk id="3" creationId="{7988F922-F0EA-6EA4-18D8-FD13A0098F50}"/>
          </ac:spMkLst>
        </pc:spChg>
        <pc:spChg chg="mod">
          <ac:chgData name="Tomás Shoemaker Simão Gonçalves" userId="a9d62b8f-9215-4dfe-a3e5-2ecfc4b3dd9a" providerId="ADAL" clId="{E69AC1FB-9437-4EFA-B5DB-40B9B6E2644C}" dt="2024-05-16T14:58:12.513" v="2143" actId="20577"/>
          <ac:spMkLst>
            <pc:docMk/>
            <pc:sldMk cId="127659681" sldId="306"/>
            <ac:spMk id="4" creationId="{E45E7457-327E-E48B-C8AC-1C14D9A22561}"/>
          </ac:spMkLst>
        </pc:spChg>
        <pc:spChg chg="mod">
          <ac:chgData name="Tomás Shoemaker Simão Gonçalves" userId="a9d62b8f-9215-4dfe-a3e5-2ecfc4b3dd9a" providerId="ADAL" clId="{E69AC1FB-9437-4EFA-B5DB-40B9B6E2644C}" dt="2024-05-16T14:08:01.633" v="1492" actId="123"/>
          <ac:spMkLst>
            <pc:docMk/>
            <pc:sldMk cId="127659681" sldId="306"/>
            <ac:spMk id="5" creationId="{54587E6A-6ACE-2E21-4C03-679E04C632A8}"/>
          </ac:spMkLst>
        </pc:spChg>
        <pc:spChg chg="mod">
          <ac:chgData name="Tomás Shoemaker Simão Gonçalves" userId="a9d62b8f-9215-4dfe-a3e5-2ecfc4b3dd9a" providerId="ADAL" clId="{E69AC1FB-9437-4EFA-B5DB-40B9B6E2644C}" dt="2024-05-16T14:08:05.533" v="1493" actId="123"/>
          <ac:spMkLst>
            <pc:docMk/>
            <pc:sldMk cId="127659681" sldId="306"/>
            <ac:spMk id="6" creationId="{E5CBFAB4-A898-EBB5-CFF6-5860E63DA9D2}"/>
          </ac:spMkLst>
        </pc:spChg>
        <pc:spChg chg="mod">
          <ac:chgData name="Tomás Shoemaker Simão Gonçalves" userId="a9d62b8f-9215-4dfe-a3e5-2ecfc4b3dd9a" providerId="ADAL" clId="{E69AC1FB-9437-4EFA-B5DB-40B9B6E2644C}" dt="2024-05-16T14:08:11.793" v="1495" actId="123"/>
          <ac:spMkLst>
            <pc:docMk/>
            <pc:sldMk cId="127659681" sldId="306"/>
            <ac:spMk id="7" creationId="{F7F7936D-ADA2-34D7-ECF3-9F5A9C53337E}"/>
          </ac:spMkLst>
        </pc:spChg>
        <pc:spChg chg="mod">
          <ac:chgData name="Tomás Shoemaker Simão Gonçalves" userId="a9d62b8f-9215-4dfe-a3e5-2ecfc4b3dd9a" providerId="ADAL" clId="{E69AC1FB-9437-4EFA-B5DB-40B9B6E2644C}" dt="2024-05-16T14:08:44.307" v="1497" actId="20577"/>
          <ac:spMkLst>
            <pc:docMk/>
            <pc:sldMk cId="127659681" sldId="306"/>
            <ac:spMk id="8" creationId="{B3F271A0-88FB-6537-41CE-BABDC167CA91}"/>
          </ac:spMkLst>
        </pc:spChg>
        <pc:spChg chg="mod">
          <ac:chgData name="Tomás Shoemaker Simão Gonçalves" userId="a9d62b8f-9215-4dfe-a3e5-2ecfc4b3dd9a" providerId="ADAL" clId="{E69AC1FB-9437-4EFA-B5DB-40B9B6E2644C}" dt="2024-05-15T14:02:15.180" v="255" actId="20577"/>
          <ac:spMkLst>
            <pc:docMk/>
            <pc:sldMk cId="127659681" sldId="306"/>
            <ac:spMk id="10" creationId="{432743BA-F92B-48D5-8D34-274CABF05A45}"/>
          </ac:spMkLst>
        </pc:spChg>
        <pc:spChg chg="mod">
          <ac:chgData name="Tomás Shoemaker Simão Gonçalves" userId="a9d62b8f-9215-4dfe-a3e5-2ecfc4b3dd9a" providerId="ADAL" clId="{E69AC1FB-9437-4EFA-B5DB-40B9B6E2644C}" dt="2024-05-16T14:09:31.433" v="1503" actId="20577"/>
          <ac:spMkLst>
            <pc:docMk/>
            <pc:sldMk cId="127659681" sldId="306"/>
            <ac:spMk id="22" creationId="{31A6910E-39BD-85EF-0F84-961BDD48787F}"/>
          </ac:spMkLst>
        </pc:spChg>
        <pc:extLst>
          <p:ext xmlns:p="http://schemas.openxmlformats.org/presentationml/2006/main" uri="{D6D511B9-2390-475A-947B-AFAB55BFBCF1}">
            <pc226:cmChg xmlns:pc226="http://schemas.microsoft.com/office/powerpoint/2022/06/main/command" chg="mod">
              <pc226:chgData name="Tomás Shoemaker Simão Gonçalves" userId="a9d62b8f-9215-4dfe-a3e5-2ecfc4b3dd9a" providerId="ADAL" clId="{E69AC1FB-9437-4EFA-B5DB-40B9B6E2644C}" dt="2024-05-15T13:49:18.797" v="74" actId="20577"/>
              <pc2:cmMkLst xmlns:pc2="http://schemas.microsoft.com/office/powerpoint/2019/9/main/command">
                <pc:docMk/>
                <pc:sldMk cId="127659681" sldId="306"/>
                <pc2:cmMk id="{DEC7E840-4C69-45F9-973F-90E2E9EC199D}"/>
              </pc2:cmMkLst>
            </pc226:cmChg>
          </p:ext>
        </pc:extLst>
      </pc:sldChg>
      <pc:sldChg chg="modSp mod">
        <pc:chgData name="Tomás Shoemaker Simão Gonçalves" userId="a9d62b8f-9215-4dfe-a3e5-2ecfc4b3dd9a" providerId="ADAL" clId="{E69AC1FB-9437-4EFA-B5DB-40B9B6E2644C}" dt="2024-05-17T15:05:30.794" v="4084" actId="14100"/>
        <pc:sldMkLst>
          <pc:docMk/>
          <pc:sldMk cId="1968038587" sldId="307"/>
        </pc:sldMkLst>
        <pc:spChg chg="mod">
          <ac:chgData name="Tomás Shoemaker Simão Gonçalves" userId="a9d62b8f-9215-4dfe-a3e5-2ecfc4b3dd9a" providerId="ADAL" clId="{E69AC1FB-9437-4EFA-B5DB-40B9B6E2644C}" dt="2024-05-17T15:04:30.974" v="4072" actId="123"/>
          <ac:spMkLst>
            <pc:docMk/>
            <pc:sldMk cId="1968038587" sldId="307"/>
            <ac:spMk id="9" creationId="{234A2254-ABC4-2A49-AAA1-7B4992B592D0}"/>
          </ac:spMkLst>
        </pc:spChg>
        <pc:spChg chg="mod">
          <ac:chgData name="Tomás Shoemaker Simão Gonçalves" userId="a9d62b8f-9215-4dfe-a3e5-2ecfc4b3dd9a" providerId="ADAL" clId="{E69AC1FB-9437-4EFA-B5DB-40B9B6E2644C}" dt="2024-05-17T15:04:35.277" v="4074" actId="123"/>
          <ac:spMkLst>
            <pc:docMk/>
            <pc:sldMk cId="1968038587" sldId="307"/>
            <ac:spMk id="14" creationId="{4C1C65ED-D697-206B-C5A7-DBEE2DDAB355}"/>
          </ac:spMkLst>
        </pc:spChg>
        <pc:spChg chg="mod">
          <ac:chgData name="Tomás Shoemaker Simão Gonçalves" userId="a9d62b8f-9215-4dfe-a3e5-2ecfc4b3dd9a" providerId="ADAL" clId="{E69AC1FB-9437-4EFA-B5DB-40B9B6E2644C}" dt="2024-05-17T15:04:39.712" v="4076" actId="123"/>
          <ac:spMkLst>
            <pc:docMk/>
            <pc:sldMk cId="1968038587" sldId="307"/>
            <ac:spMk id="18" creationId="{CD84C3DC-46B3-6C8E-AC55-FA76A140B218}"/>
          </ac:spMkLst>
        </pc:spChg>
        <pc:spChg chg="mod">
          <ac:chgData name="Tomás Shoemaker Simão Gonçalves" userId="a9d62b8f-9215-4dfe-a3e5-2ecfc4b3dd9a" providerId="ADAL" clId="{E69AC1FB-9437-4EFA-B5DB-40B9B6E2644C}" dt="2024-05-17T15:04:48.152" v="4078" actId="123"/>
          <ac:spMkLst>
            <pc:docMk/>
            <pc:sldMk cId="1968038587" sldId="307"/>
            <ac:spMk id="22" creationId="{5627AED8-8AAE-6705-BD2F-4E02E9DBE59E}"/>
          </ac:spMkLst>
        </pc:spChg>
        <pc:spChg chg="mod">
          <ac:chgData name="Tomás Shoemaker Simão Gonçalves" userId="a9d62b8f-9215-4dfe-a3e5-2ecfc4b3dd9a" providerId="ADAL" clId="{E69AC1FB-9437-4EFA-B5DB-40B9B6E2644C}" dt="2024-05-17T15:05:30.794" v="4084" actId="14100"/>
          <ac:spMkLst>
            <pc:docMk/>
            <pc:sldMk cId="1968038587" sldId="307"/>
            <ac:spMk id="30" creationId="{7CD95045-0F00-EC62-5B76-03CB5E7C5428}"/>
          </ac:spMkLst>
        </pc:spChg>
      </pc:sldChg>
      <pc:sldChg chg="modSp mod">
        <pc:chgData name="Tomás Shoemaker Simão Gonçalves" userId="a9d62b8f-9215-4dfe-a3e5-2ecfc4b3dd9a" providerId="ADAL" clId="{E69AC1FB-9437-4EFA-B5DB-40B9B6E2644C}" dt="2024-05-17T15:07:21.642" v="4088" actId="123"/>
        <pc:sldMkLst>
          <pc:docMk/>
          <pc:sldMk cId="645465889" sldId="309"/>
        </pc:sldMkLst>
        <pc:spChg chg="mod">
          <ac:chgData name="Tomás Shoemaker Simão Gonçalves" userId="a9d62b8f-9215-4dfe-a3e5-2ecfc4b3dd9a" providerId="ADAL" clId="{E69AC1FB-9437-4EFA-B5DB-40B9B6E2644C}" dt="2024-05-17T15:07:04.824" v="4085" actId="123"/>
          <ac:spMkLst>
            <pc:docMk/>
            <pc:sldMk cId="645465889" sldId="309"/>
            <ac:spMk id="9" creationId="{F6BC87A6-ABCE-729D-2F20-2100937416B9}"/>
          </ac:spMkLst>
        </pc:spChg>
        <pc:spChg chg="mod">
          <ac:chgData name="Tomás Shoemaker Simão Gonçalves" userId="a9d62b8f-9215-4dfe-a3e5-2ecfc4b3dd9a" providerId="ADAL" clId="{E69AC1FB-9437-4EFA-B5DB-40B9B6E2644C}" dt="2024-05-17T15:07:10.957" v="4086" actId="123"/>
          <ac:spMkLst>
            <pc:docMk/>
            <pc:sldMk cId="645465889" sldId="309"/>
            <ac:spMk id="13" creationId="{35A134DE-CDE6-F7A6-EFF7-3C0FB22BA1E2}"/>
          </ac:spMkLst>
        </pc:spChg>
        <pc:spChg chg="mod">
          <ac:chgData name="Tomás Shoemaker Simão Gonçalves" userId="a9d62b8f-9215-4dfe-a3e5-2ecfc4b3dd9a" providerId="ADAL" clId="{E69AC1FB-9437-4EFA-B5DB-40B9B6E2644C}" dt="2024-05-17T15:07:15.359" v="4087" actId="123"/>
          <ac:spMkLst>
            <pc:docMk/>
            <pc:sldMk cId="645465889" sldId="309"/>
            <ac:spMk id="17" creationId="{B950E7AB-3B1E-6475-51E8-B45D85DC8D1D}"/>
          </ac:spMkLst>
        </pc:spChg>
        <pc:spChg chg="mod">
          <ac:chgData name="Tomás Shoemaker Simão Gonçalves" userId="a9d62b8f-9215-4dfe-a3e5-2ecfc4b3dd9a" providerId="ADAL" clId="{E69AC1FB-9437-4EFA-B5DB-40B9B6E2644C}" dt="2024-05-17T15:07:21.642" v="4088" actId="123"/>
          <ac:spMkLst>
            <pc:docMk/>
            <pc:sldMk cId="645465889" sldId="309"/>
            <ac:spMk id="21" creationId="{B840AEA6-8BC2-12B2-BFEB-A36227DDB173}"/>
          </ac:spMkLst>
        </pc:spChg>
      </pc:sldChg>
      <pc:sldChg chg="modSp mod">
        <pc:chgData name="Tomás Shoemaker Simão Gonçalves" userId="a9d62b8f-9215-4dfe-a3e5-2ecfc4b3dd9a" providerId="ADAL" clId="{E69AC1FB-9437-4EFA-B5DB-40B9B6E2644C}" dt="2024-05-17T18:49:00.289" v="4127" actId="20577"/>
        <pc:sldMkLst>
          <pc:docMk/>
          <pc:sldMk cId="147093149" sldId="312"/>
        </pc:sldMkLst>
        <pc:spChg chg="mod">
          <ac:chgData name="Tomás Shoemaker Simão Gonçalves" userId="a9d62b8f-9215-4dfe-a3e5-2ecfc4b3dd9a" providerId="ADAL" clId="{E69AC1FB-9437-4EFA-B5DB-40B9B6E2644C}" dt="2024-05-17T18:49:00.289" v="4127" actId="20577"/>
          <ac:spMkLst>
            <pc:docMk/>
            <pc:sldMk cId="147093149" sldId="312"/>
            <ac:spMk id="2" creationId="{89DFD32D-6508-96B2-E7B9-0B50D3FAB32B}"/>
          </ac:spMkLst>
        </pc:spChg>
        <pc:spChg chg="mod">
          <ac:chgData name="Tomás Shoemaker Simão Gonçalves" userId="a9d62b8f-9215-4dfe-a3e5-2ecfc4b3dd9a" providerId="ADAL" clId="{E69AC1FB-9437-4EFA-B5DB-40B9B6E2644C}" dt="2024-05-16T14:30:56.315" v="2006" actId="123"/>
          <ac:spMkLst>
            <pc:docMk/>
            <pc:sldMk cId="147093149" sldId="312"/>
            <ac:spMk id="4" creationId="{DB78829A-52B2-01F6-3DA7-84C0D6CF7051}"/>
          </ac:spMkLst>
        </pc:spChg>
        <pc:spChg chg="mod">
          <ac:chgData name="Tomás Shoemaker Simão Gonçalves" userId="a9d62b8f-9215-4dfe-a3e5-2ecfc4b3dd9a" providerId="ADAL" clId="{E69AC1FB-9437-4EFA-B5DB-40B9B6E2644C}" dt="2024-05-16T14:18:08.825" v="1678" actId="20577"/>
          <ac:spMkLst>
            <pc:docMk/>
            <pc:sldMk cId="147093149" sldId="312"/>
            <ac:spMk id="7" creationId="{A0EB7227-34E4-1B22-73EF-A976BB1E46C2}"/>
          </ac:spMkLst>
        </pc:spChg>
        <pc:spChg chg="mod">
          <ac:chgData name="Tomás Shoemaker Simão Gonçalves" userId="a9d62b8f-9215-4dfe-a3e5-2ecfc4b3dd9a" providerId="ADAL" clId="{E69AC1FB-9437-4EFA-B5DB-40B9B6E2644C}" dt="2024-05-16T14:30:40.333" v="2001" actId="14100"/>
          <ac:spMkLst>
            <pc:docMk/>
            <pc:sldMk cId="147093149" sldId="312"/>
            <ac:spMk id="9" creationId="{5355AB66-D5B1-5D4A-5538-7734AC7E118B}"/>
          </ac:spMkLst>
        </pc:spChg>
        <pc:spChg chg="mod">
          <ac:chgData name="Tomás Shoemaker Simão Gonçalves" userId="a9d62b8f-9215-4dfe-a3e5-2ecfc4b3dd9a" providerId="ADAL" clId="{E69AC1FB-9437-4EFA-B5DB-40B9B6E2644C}" dt="2024-05-16T14:30:58.736" v="2007" actId="123"/>
          <ac:spMkLst>
            <pc:docMk/>
            <pc:sldMk cId="147093149" sldId="312"/>
            <ac:spMk id="10" creationId="{C171FA25-6C71-B40C-A418-72AA2CFAEAF8}"/>
          </ac:spMkLst>
        </pc:spChg>
        <pc:spChg chg="mod">
          <ac:chgData name="Tomás Shoemaker Simão Gonçalves" userId="a9d62b8f-9215-4dfe-a3e5-2ecfc4b3dd9a" providerId="ADAL" clId="{E69AC1FB-9437-4EFA-B5DB-40B9B6E2644C}" dt="2024-05-16T14:19:04.096" v="1728" actId="5793"/>
          <ac:spMkLst>
            <pc:docMk/>
            <pc:sldMk cId="147093149" sldId="312"/>
            <ac:spMk id="12" creationId="{B17888B0-8B6A-BEAE-0791-C548FDA65008}"/>
          </ac:spMkLst>
        </pc:spChg>
        <pc:spChg chg="mod">
          <ac:chgData name="Tomás Shoemaker Simão Gonçalves" userId="a9d62b8f-9215-4dfe-a3e5-2ecfc4b3dd9a" providerId="ADAL" clId="{E69AC1FB-9437-4EFA-B5DB-40B9B6E2644C}" dt="2024-05-16T14:30:51.285" v="2004" actId="123"/>
          <ac:spMkLst>
            <pc:docMk/>
            <pc:sldMk cId="147093149" sldId="312"/>
            <ac:spMk id="13" creationId="{485810BB-492C-C08D-421F-E1380FD62075}"/>
          </ac:spMkLst>
        </pc:spChg>
        <pc:spChg chg="mod">
          <ac:chgData name="Tomás Shoemaker Simão Gonçalves" userId="a9d62b8f-9215-4dfe-a3e5-2ecfc4b3dd9a" providerId="ADAL" clId="{E69AC1FB-9437-4EFA-B5DB-40B9B6E2644C}" dt="2024-05-16T14:30:43.950" v="2002" actId="123"/>
          <ac:spMkLst>
            <pc:docMk/>
            <pc:sldMk cId="147093149" sldId="312"/>
            <ac:spMk id="14" creationId="{335B7DEC-88C8-6705-A199-25E6328D94F9}"/>
          </ac:spMkLst>
        </pc:spChg>
        <pc:spChg chg="mod">
          <ac:chgData name="Tomás Shoemaker Simão Gonçalves" userId="a9d62b8f-9215-4dfe-a3e5-2ecfc4b3dd9a" providerId="ADAL" clId="{E69AC1FB-9437-4EFA-B5DB-40B9B6E2644C}" dt="2024-05-16T14:30:54.064" v="2005" actId="123"/>
          <ac:spMkLst>
            <pc:docMk/>
            <pc:sldMk cId="147093149" sldId="312"/>
            <ac:spMk id="15" creationId="{734D178E-987E-95F8-E926-B84B13AF2C8E}"/>
          </ac:spMkLst>
        </pc:spChg>
        <pc:spChg chg="mod">
          <ac:chgData name="Tomás Shoemaker Simão Gonçalves" userId="a9d62b8f-9215-4dfe-a3e5-2ecfc4b3dd9a" providerId="ADAL" clId="{E69AC1FB-9437-4EFA-B5DB-40B9B6E2644C}" dt="2024-05-16T14:30:16.384" v="1990" actId="20577"/>
          <ac:spMkLst>
            <pc:docMk/>
            <pc:sldMk cId="147093149" sldId="312"/>
            <ac:spMk id="18" creationId="{5701892C-11B7-5E73-77F4-A214F8DE2A45}"/>
          </ac:spMkLst>
        </pc:spChg>
        <pc:spChg chg="mod">
          <ac:chgData name="Tomás Shoemaker Simão Gonçalves" userId="a9d62b8f-9215-4dfe-a3e5-2ecfc4b3dd9a" providerId="ADAL" clId="{E69AC1FB-9437-4EFA-B5DB-40B9B6E2644C}" dt="2024-05-16T18:12:02.147" v="2880" actId="14100"/>
          <ac:spMkLst>
            <pc:docMk/>
            <pc:sldMk cId="147093149" sldId="312"/>
            <ac:spMk id="19" creationId="{A49ACF58-1D01-1800-24D6-39983D3EE8D2}"/>
          </ac:spMkLst>
        </pc:spChg>
        <pc:spChg chg="mod">
          <ac:chgData name="Tomás Shoemaker Simão Gonçalves" userId="a9d62b8f-9215-4dfe-a3e5-2ecfc4b3dd9a" providerId="ADAL" clId="{E69AC1FB-9437-4EFA-B5DB-40B9B6E2644C}" dt="2024-05-16T14:31:00.967" v="2008" actId="123"/>
          <ac:spMkLst>
            <pc:docMk/>
            <pc:sldMk cId="147093149" sldId="312"/>
            <ac:spMk id="20" creationId="{4E3EA5A1-22C8-24D9-4888-0E0FA049603F}"/>
          </ac:spMkLst>
        </pc:spChg>
        <pc:spChg chg="mod">
          <ac:chgData name="Tomás Shoemaker Simão Gonçalves" userId="a9d62b8f-9215-4dfe-a3e5-2ecfc4b3dd9a" providerId="ADAL" clId="{E69AC1FB-9437-4EFA-B5DB-40B9B6E2644C}" dt="2024-05-17T14:07:31.746" v="3350" actId="20577"/>
          <ac:spMkLst>
            <pc:docMk/>
            <pc:sldMk cId="147093149" sldId="312"/>
            <ac:spMk id="21" creationId="{78DC9976-6234-D11E-70A1-B1EA8DD9275E}"/>
          </ac:spMkLst>
        </pc:spChg>
        <pc:spChg chg="mod">
          <ac:chgData name="Tomás Shoemaker Simão Gonçalves" userId="a9d62b8f-9215-4dfe-a3e5-2ecfc4b3dd9a" providerId="ADAL" clId="{E69AC1FB-9437-4EFA-B5DB-40B9B6E2644C}" dt="2024-05-16T14:21:48.165" v="1875" actId="1035"/>
          <ac:spMkLst>
            <pc:docMk/>
            <pc:sldMk cId="147093149" sldId="312"/>
            <ac:spMk id="22" creationId="{7205E1AE-7522-401F-AE4B-E4809D85D667}"/>
          </ac:spMkLst>
        </pc:spChg>
        <pc:spChg chg="mod">
          <ac:chgData name="Tomás Shoemaker Simão Gonçalves" userId="a9d62b8f-9215-4dfe-a3e5-2ecfc4b3dd9a" providerId="ADAL" clId="{E69AC1FB-9437-4EFA-B5DB-40B9B6E2644C}" dt="2024-05-17T14:14:06.259" v="3539" actId="20577"/>
          <ac:spMkLst>
            <pc:docMk/>
            <pc:sldMk cId="147093149" sldId="312"/>
            <ac:spMk id="24" creationId="{CF475912-4470-539A-ABD4-54DA63EA2FAA}"/>
          </ac:spMkLst>
        </pc:spChg>
        <pc:spChg chg="mod">
          <ac:chgData name="Tomás Shoemaker Simão Gonçalves" userId="a9d62b8f-9215-4dfe-a3e5-2ecfc4b3dd9a" providerId="ADAL" clId="{E69AC1FB-9437-4EFA-B5DB-40B9B6E2644C}" dt="2024-05-16T14:18:14.972" v="1679" actId="12"/>
          <ac:spMkLst>
            <pc:docMk/>
            <pc:sldMk cId="147093149" sldId="312"/>
            <ac:spMk id="40" creationId="{7C7F735B-8C58-674F-136E-A353AC0A85D7}"/>
          </ac:spMkLst>
        </pc:spChg>
        <pc:spChg chg="mod">
          <ac:chgData name="Tomás Shoemaker Simão Gonçalves" userId="a9d62b8f-9215-4dfe-a3e5-2ecfc4b3dd9a" providerId="ADAL" clId="{E69AC1FB-9437-4EFA-B5DB-40B9B6E2644C}" dt="2024-05-16T14:26:52.284" v="1942" actId="123"/>
          <ac:spMkLst>
            <pc:docMk/>
            <pc:sldMk cId="147093149" sldId="312"/>
            <ac:spMk id="46" creationId="{2C5F95BF-70F2-08C9-BE9D-02B9B81A8F56}"/>
          </ac:spMkLst>
        </pc:spChg>
      </pc:sldChg>
      <pc:sldChg chg="modSp mod">
        <pc:chgData name="Tomás Shoemaker Simão Gonçalves" userId="a9d62b8f-9215-4dfe-a3e5-2ecfc4b3dd9a" providerId="ADAL" clId="{E69AC1FB-9437-4EFA-B5DB-40B9B6E2644C}" dt="2024-05-15T13:54:53.706" v="116" actId="20577"/>
        <pc:sldMkLst>
          <pc:docMk/>
          <pc:sldMk cId="3877959827" sldId="313"/>
        </pc:sldMkLst>
        <pc:spChg chg="mod">
          <ac:chgData name="Tomás Shoemaker Simão Gonçalves" userId="a9d62b8f-9215-4dfe-a3e5-2ecfc4b3dd9a" providerId="ADAL" clId="{E69AC1FB-9437-4EFA-B5DB-40B9B6E2644C}" dt="2024-05-15T13:54:53.706" v="116" actId="20577"/>
          <ac:spMkLst>
            <pc:docMk/>
            <pc:sldMk cId="3877959827" sldId="313"/>
            <ac:spMk id="3" creationId="{6D589C28-4250-EB81-2BF8-21E0B631118C}"/>
          </ac:spMkLst>
        </pc:spChg>
      </pc:sldChg>
      <pc:sldChg chg="addSp delSp modSp mod delAnim modAnim">
        <pc:chgData name="Tomás Shoemaker Simão Gonçalves" userId="a9d62b8f-9215-4dfe-a3e5-2ecfc4b3dd9a" providerId="ADAL" clId="{E69AC1FB-9437-4EFA-B5DB-40B9B6E2644C}" dt="2024-05-17T15:01:08.895" v="4033" actId="1076"/>
        <pc:sldMkLst>
          <pc:docMk/>
          <pc:sldMk cId="604316788" sldId="314"/>
        </pc:sldMkLst>
        <pc:spChg chg="mod">
          <ac:chgData name="Tomás Shoemaker Simão Gonçalves" userId="a9d62b8f-9215-4dfe-a3e5-2ecfc4b3dd9a" providerId="ADAL" clId="{E69AC1FB-9437-4EFA-B5DB-40B9B6E2644C}" dt="2024-05-16T16:53:58.771" v="2283" actId="20577"/>
          <ac:spMkLst>
            <pc:docMk/>
            <pc:sldMk cId="604316788" sldId="314"/>
            <ac:spMk id="2" creationId="{89DFD32D-6508-96B2-E7B9-0B50D3FAB32B}"/>
          </ac:spMkLst>
        </pc:spChg>
        <pc:spChg chg="del mod">
          <ac:chgData name="Tomás Shoemaker Simão Gonçalves" userId="a9d62b8f-9215-4dfe-a3e5-2ecfc4b3dd9a" providerId="ADAL" clId="{E69AC1FB-9437-4EFA-B5DB-40B9B6E2644C}" dt="2024-05-16T17:12:04.286" v="2653" actId="478"/>
          <ac:spMkLst>
            <pc:docMk/>
            <pc:sldMk cId="604316788" sldId="314"/>
            <ac:spMk id="5" creationId="{F706001E-44D1-F7B4-1683-4DC11DD8C048}"/>
          </ac:spMkLst>
        </pc:spChg>
        <pc:spChg chg="add mod">
          <ac:chgData name="Tomás Shoemaker Simão Gonçalves" userId="a9d62b8f-9215-4dfe-a3e5-2ecfc4b3dd9a" providerId="ADAL" clId="{E69AC1FB-9437-4EFA-B5DB-40B9B6E2644C}" dt="2024-05-16T17:45:55.937" v="2859" actId="20577"/>
          <ac:spMkLst>
            <pc:docMk/>
            <pc:sldMk cId="604316788" sldId="314"/>
            <ac:spMk id="12" creationId="{9884944B-F19D-E3B1-18A0-5105211DDAD0}"/>
          </ac:spMkLst>
        </pc:spChg>
        <pc:graphicFrameChg chg="add mod modGraphic">
          <ac:chgData name="Tomás Shoemaker Simão Gonçalves" userId="a9d62b8f-9215-4dfe-a3e5-2ecfc4b3dd9a" providerId="ADAL" clId="{E69AC1FB-9437-4EFA-B5DB-40B9B6E2644C}" dt="2024-05-17T15:01:08.895" v="4033" actId="1076"/>
          <ac:graphicFrameMkLst>
            <pc:docMk/>
            <pc:sldMk cId="604316788" sldId="314"/>
            <ac:graphicFrameMk id="7" creationId="{8E6D05DA-6799-4773-E750-23E1C40BA5A5}"/>
          </ac:graphicFrameMkLst>
        </pc:graphicFrameChg>
        <pc:picChg chg="add del mod">
          <ac:chgData name="Tomás Shoemaker Simão Gonçalves" userId="a9d62b8f-9215-4dfe-a3e5-2ecfc4b3dd9a" providerId="ADAL" clId="{E69AC1FB-9437-4EFA-B5DB-40B9B6E2644C}" dt="2024-05-17T14:57:02.366" v="4014" actId="478"/>
          <ac:picMkLst>
            <pc:docMk/>
            <pc:sldMk cId="604316788" sldId="314"/>
            <ac:picMk id="5" creationId="{74FBA1F0-571A-D22C-4166-CC952CC92F81}"/>
          </ac:picMkLst>
        </pc:picChg>
        <pc:picChg chg="add del mod">
          <ac:chgData name="Tomás Shoemaker Simão Gonçalves" userId="a9d62b8f-9215-4dfe-a3e5-2ecfc4b3dd9a" providerId="ADAL" clId="{E69AC1FB-9437-4EFA-B5DB-40B9B6E2644C}" dt="2024-05-16T14:32:59.372" v="2017" actId="478"/>
          <ac:picMkLst>
            <pc:docMk/>
            <pc:sldMk cId="604316788" sldId="314"/>
            <ac:picMk id="6" creationId="{2A972F25-3193-899E-0599-C4205A5BA4FC}"/>
          </ac:picMkLst>
        </pc:picChg>
        <pc:picChg chg="add del mod">
          <ac:chgData name="Tomás Shoemaker Simão Gonçalves" userId="a9d62b8f-9215-4dfe-a3e5-2ecfc4b3dd9a" providerId="ADAL" clId="{E69AC1FB-9437-4EFA-B5DB-40B9B6E2644C}" dt="2024-05-17T14:57:00.507" v="4013" actId="478"/>
          <ac:picMkLst>
            <pc:docMk/>
            <pc:sldMk cId="604316788" sldId="314"/>
            <ac:picMk id="8" creationId="{BA6716B5-383E-D6E8-32F2-0D444C5F2717}"/>
          </ac:picMkLst>
        </pc:picChg>
        <pc:picChg chg="add del mod ord">
          <ac:chgData name="Tomás Shoemaker Simão Gonçalves" userId="a9d62b8f-9215-4dfe-a3e5-2ecfc4b3dd9a" providerId="ADAL" clId="{E69AC1FB-9437-4EFA-B5DB-40B9B6E2644C}" dt="2024-05-17T14:36:16.122" v="3737" actId="478"/>
          <ac:picMkLst>
            <pc:docMk/>
            <pc:sldMk cId="604316788" sldId="314"/>
            <ac:picMk id="9" creationId="{8590C4D3-DE51-8513-7976-23A48CCD6DFB}"/>
          </ac:picMkLst>
        </pc:picChg>
        <pc:picChg chg="add del mod">
          <ac:chgData name="Tomás Shoemaker Simão Gonçalves" userId="a9d62b8f-9215-4dfe-a3e5-2ecfc4b3dd9a" providerId="ADAL" clId="{E69AC1FB-9437-4EFA-B5DB-40B9B6E2644C}" dt="2024-05-17T14:36:17.356" v="3738" actId="478"/>
          <ac:picMkLst>
            <pc:docMk/>
            <pc:sldMk cId="604316788" sldId="314"/>
            <ac:picMk id="11" creationId="{602BAE0E-37F6-3C04-7CAA-38F0D0D3364D}"/>
          </ac:picMkLst>
        </pc:picChg>
        <pc:picChg chg="add mod">
          <ac:chgData name="Tomás Shoemaker Simão Gonçalves" userId="a9d62b8f-9215-4dfe-a3e5-2ecfc4b3dd9a" providerId="ADAL" clId="{E69AC1FB-9437-4EFA-B5DB-40B9B6E2644C}" dt="2024-05-17T15:01:04.017" v="4032" actId="1076"/>
          <ac:picMkLst>
            <pc:docMk/>
            <pc:sldMk cId="604316788" sldId="314"/>
            <ac:picMk id="13" creationId="{CBBB806B-F267-BADB-F311-7322D1ABB6B8}"/>
          </ac:picMkLst>
        </pc:picChg>
      </pc:sldChg>
      <pc:sldChg chg="addSp delSp modSp new mod">
        <pc:chgData name="Tomás Shoemaker Simão Gonçalves" userId="a9d62b8f-9215-4dfe-a3e5-2ecfc4b3dd9a" providerId="ADAL" clId="{E69AC1FB-9437-4EFA-B5DB-40B9B6E2644C}" dt="2024-05-17T15:03:23.674" v="4069" actId="20577"/>
        <pc:sldMkLst>
          <pc:docMk/>
          <pc:sldMk cId="577759264" sldId="317"/>
        </pc:sldMkLst>
        <pc:spChg chg="mod">
          <ac:chgData name="Tomás Shoemaker Simão Gonçalves" userId="a9d62b8f-9215-4dfe-a3e5-2ecfc4b3dd9a" providerId="ADAL" clId="{E69AC1FB-9437-4EFA-B5DB-40B9B6E2644C}" dt="2024-05-15T13:45:12.952" v="10" actId="20577"/>
          <ac:spMkLst>
            <pc:docMk/>
            <pc:sldMk cId="577759264" sldId="317"/>
            <ac:spMk id="2" creationId="{66A31817-2239-6177-4CA0-F294F2E99166}"/>
          </ac:spMkLst>
        </pc:spChg>
        <pc:spChg chg="mod">
          <ac:chgData name="Tomás Shoemaker Simão Gonçalves" userId="a9d62b8f-9215-4dfe-a3e5-2ecfc4b3dd9a" providerId="ADAL" clId="{E69AC1FB-9437-4EFA-B5DB-40B9B6E2644C}" dt="2024-05-15T14:01:13.261" v="234" actId="20577"/>
          <ac:spMkLst>
            <pc:docMk/>
            <pc:sldMk cId="577759264" sldId="317"/>
            <ac:spMk id="3" creationId="{A95C4B3D-BC70-7C15-CA2D-93A25EAC0B82}"/>
          </ac:spMkLst>
        </pc:spChg>
        <pc:spChg chg="add del mod">
          <ac:chgData name="Tomás Shoemaker Simão Gonçalves" userId="a9d62b8f-9215-4dfe-a3e5-2ecfc4b3dd9a" providerId="ADAL" clId="{E69AC1FB-9437-4EFA-B5DB-40B9B6E2644C}" dt="2024-05-17T14:05:20.158" v="3341" actId="478"/>
          <ac:spMkLst>
            <pc:docMk/>
            <pc:sldMk cId="577759264" sldId="317"/>
            <ac:spMk id="5" creationId="{F64FF02B-0090-6BAC-46AC-EAC9A407D41A}"/>
          </ac:spMkLst>
        </pc:spChg>
        <pc:spChg chg="add mod">
          <ac:chgData name="Tomás Shoemaker Simão Gonçalves" userId="a9d62b8f-9215-4dfe-a3e5-2ecfc4b3dd9a" providerId="ADAL" clId="{E69AC1FB-9437-4EFA-B5DB-40B9B6E2644C}" dt="2024-05-17T14:06:54.525" v="3348" actId="113"/>
          <ac:spMkLst>
            <pc:docMk/>
            <pc:sldMk cId="577759264" sldId="317"/>
            <ac:spMk id="6" creationId="{D4917654-A31F-2E29-5A6B-2EEE13C2A636}"/>
          </ac:spMkLst>
        </pc:spChg>
        <pc:spChg chg="mod">
          <ac:chgData name="Tomás Shoemaker Simão Gonçalves" userId="a9d62b8f-9215-4dfe-a3e5-2ecfc4b3dd9a" providerId="ADAL" clId="{E69AC1FB-9437-4EFA-B5DB-40B9B6E2644C}" dt="2024-05-17T14:54:24.439" v="4012" actId="20577"/>
          <ac:spMkLst>
            <pc:docMk/>
            <pc:sldMk cId="577759264" sldId="317"/>
            <ac:spMk id="14" creationId="{794F393A-F0D6-C00B-931C-973AFE443D5B}"/>
          </ac:spMkLst>
        </pc:spChg>
        <pc:spChg chg="mod">
          <ac:chgData name="Tomás Shoemaker Simão Gonçalves" userId="a9d62b8f-9215-4dfe-a3e5-2ecfc4b3dd9a" providerId="ADAL" clId="{E69AC1FB-9437-4EFA-B5DB-40B9B6E2644C}" dt="2024-05-17T15:02:25.387" v="4063" actId="1038"/>
          <ac:spMkLst>
            <pc:docMk/>
            <pc:sldMk cId="577759264" sldId="317"/>
            <ac:spMk id="16" creationId="{DE1FC2D5-F315-BF1F-99DE-3E8D399889B6}"/>
          </ac:spMkLst>
        </pc:spChg>
        <pc:spChg chg="mod">
          <ac:chgData name="Tomás Shoemaker Simão Gonçalves" userId="a9d62b8f-9215-4dfe-a3e5-2ecfc4b3dd9a" providerId="ADAL" clId="{E69AC1FB-9437-4EFA-B5DB-40B9B6E2644C}" dt="2024-05-17T15:02:35.829" v="4065" actId="1035"/>
          <ac:spMkLst>
            <pc:docMk/>
            <pc:sldMk cId="577759264" sldId="317"/>
            <ac:spMk id="18" creationId="{A2CB465D-DA6C-A764-7DE2-8196AE2EF3C8}"/>
          </ac:spMkLst>
        </pc:spChg>
        <pc:graphicFrameChg chg="add mod modGraphic">
          <ac:chgData name="Tomás Shoemaker Simão Gonçalves" userId="a9d62b8f-9215-4dfe-a3e5-2ecfc4b3dd9a" providerId="ADAL" clId="{E69AC1FB-9437-4EFA-B5DB-40B9B6E2644C}" dt="2024-05-17T15:03:23.674" v="4069" actId="20577"/>
          <ac:graphicFrameMkLst>
            <pc:docMk/>
            <pc:sldMk cId="577759264" sldId="317"/>
            <ac:graphicFrameMk id="4" creationId="{B4CC94A9-7216-8D63-D663-E426469220E4}"/>
          </ac:graphicFrameMkLst>
        </pc:graphicFrameChg>
      </pc:sldChg>
      <pc:sldChg chg="modSp mod">
        <pc:chgData name="Tomás Shoemaker Simão Gonçalves" userId="a9d62b8f-9215-4dfe-a3e5-2ecfc4b3dd9a" providerId="ADAL" clId="{E69AC1FB-9437-4EFA-B5DB-40B9B6E2644C}" dt="2024-05-16T15:05:20.821" v="2179" actId="20577"/>
        <pc:sldMkLst>
          <pc:docMk/>
          <pc:sldMk cId="2883737098" sldId="319"/>
        </pc:sldMkLst>
        <pc:spChg chg="mod">
          <ac:chgData name="Tomás Shoemaker Simão Gonçalves" userId="a9d62b8f-9215-4dfe-a3e5-2ecfc4b3dd9a" providerId="ADAL" clId="{E69AC1FB-9437-4EFA-B5DB-40B9B6E2644C}" dt="2024-05-16T15:05:20.821" v="2179" actId="20577"/>
          <ac:spMkLst>
            <pc:docMk/>
            <pc:sldMk cId="2883737098" sldId="319"/>
            <ac:spMk id="13" creationId="{7349626C-BE97-D166-0306-5101416DCF5D}"/>
          </ac:spMkLst>
        </pc:spChg>
      </pc:sldChg>
      <pc:sldChg chg="modSp mod">
        <pc:chgData name="Tomás Shoemaker Simão Gonçalves" userId="a9d62b8f-9215-4dfe-a3e5-2ecfc4b3dd9a" providerId="ADAL" clId="{E69AC1FB-9437-4EFA-B5DB-40B9B6E2644C}" dt="2024-05-16T14:11:30.717" v="1509" actId="20577"/>
        <pc:sldMkLst>
          <pc:docMk/>
          <pc:sldMk cId="2805918559" sldId="320"/>
        </pc:sldMkLst>
        <pc:spChg chg="mod">
          <ac:chgData name="Tomás Shoemaker Simão Gonçalves" userId="a9d62b8f-9215-4dfe-a3e5-2ecfc4b3dd9a" providerId="ADAL" clId="{E69AC1FB-9437-4EFA-B5DB-40B9B6E2644C}" dt="2024-05-16T14:11:03.362" v="1505" actId="122"/>
          <ac:spMkLst>
            <pc:docMk/>
            <pc:sldMk cId="2805918559" sldId="320"/>
            <ac:spMk id="5" creationId="{0E2DFF73-1F05-FF4C-BB94-FBDCDE393650}"/>
          </ac:spMkLst>
        </pc:spChg>
        <pc:spChg chg="mod">
          <ac:chgData name="Tomás Shoemaker Simão Gonçalves" userId="a9d62b8f-9215-4dfe-a3e5-2ecfc4b3dd9a" providerId="ADAL" clId="{E69AC1FB-9437-4EFA-B5DB-40B9B6E2644C}" dt="2024-05-16T14:11:30.717" v="1509" actId="20577"/>
          <ac:spMkLst>
            <pc:docMk/>
            <pc:sldMk cId="2805918559" sldId="320"/>
            <ac:spMk id="7" creationId="{2ACE1E85-54FD-8CCA-6274-8C77BB951A9E}"/>
          </ac:spMkLst>
        </pc:spChg>
      </pc:sldChg>
      <pc:sldChg chg="modSp mod">
        <pc:chgData name="Tomás Shoemaker Simão Gonçalves" userId="a9d62b8f-9215-4dfe-a3e5-2ecfc4b3dd9a" providerId="ADAL" clId="{E69AC1FB-9437-4EFA-B5DB-40B9B6E2644C}" dt="2024-05-17T15:10:54.700" v="4108" actId="20577"/>
        <pc:sldMkLst>
          <pc:docMk/>
          <pc:sldMk cId="3277142740" sldId="327"/>
        </pc:sldMkLst>
        <pc:spChg chg="mod">
          <ac:chgData name="Tomás Shoemaker Simão Gonçalves" userId="a9d62b8f-9215-4dfe-a3e5-2ecfc4b3dd9a" providerId="ADAL" clId="{E69AC1FB-9437-4EFA-B5DB-40B9B6E2644C}" dt="2024-05-17T15:10:54.700" v="4108" actId="20577"/>
          <ac:spMkLst>
            <pc:docMk/>
            <pc:sldMk cId="3277142740" sldId="327"/>
            <ac:spMk id="3" creationId="{281105C5-44E1-6128-D52F-2586EB705ADC}"/>
          </ac:spMkLst>
        </pc:spChg>
        <pc:spChg chg="mod">
          <ac:chgData name="Tomás Shoemaker Simão Gonçalves" userId="a9d62b8f-9215-4dfe-a3e5-2ecfc4b3dd9a" providerId="ADAL" clId="{E69AC1FB-9437-4EFA-B5DB-40B9B6E2644C}" dt="2024-05-16T17:35:09.371" v="2786" actId="1076"/>
          <ac:spMkLst>
            <pc:docMk/>
            <pc:sldMk cId="3277142740" sldId="327"/>
            <ac:spMk id="81" creationId="{3AFD914F-D34B-7613-8543-4943CABBB3EE}"/>
          </ac:spMkLst>
        </pc:spChg>
        <pc:graphicFrameChg chg="modGraphic">
          <ac:chgData name="Tomás Shoemaker Simão Gonçalves" userId="a9d62b8f-9215-4dfe-a3e5-2ecfc4b3dd9a" providerId="ADAL" clId="{E69AC1FB-9437-4EFA-B5DB-40B9B6E2644C}" dt="2024-05-17T13:47:43.548" v="3109" actId="20577"/>
          <ac:graphicFrameMkLst>
            <pc:docMk/>
            <pc:sldMk cId="3277142740" sldId="327"/>
            <ac:graphicFrameMk id="63" creationId="{04A377E1-D6C2-07BA-5F68-8B24A6D764B8}"/>
          </ac:graphicFrameMkLst>
        </pc:graphicFrameChg>
        <pc:graphicFrameChg chg="mod modGraphic">
          <ac:chgData name="Tomás Shoemaker Simão Gonçalves" userId="a9d62b8f-9215-4dfe-a3e5-2ecfc4b3dd9a" providerId="ADAL" clId="{E69AC1FB-9437-4EFA-B5DB-40B9B6E2644C}" dt="2024-05-16T17:20:05.526" v="2749" actId="313"/>
          <ac:graphicFrameMkLst>
            <pc:docMk/>
            <pc:sldMk cId="3277142740" sldId="327"/>
            <ac:graphicFrameMk id="89" creationId="{FE46E295-2118-0634-ED94-F5FADBA861C1}"/>
          </ac:graphicFrameMkLst>
        </pc:graphicFrameChg>
      </pc:sldChg>
      <pc:sldChg chg="addSp delSp modSp add mod delAnim modAnim">
        <pc:chgData name="Tomás Shoemaker Simão Gonçalves" userId="a9d62b8f-9215-4dfe-a3e5-2ecfc4b3dd9a" providerId="ADAL" clId="{E69AC1FB-9437-4EFA-B5DB-40B9B6E2644C}" dt="2024-05-17T15:00:58.205" v="4030" actId="1076"/>
        <pc:sldMkLst>
          <pc:docMk/>
          <pc:sldMk cId="1492285840" sldId="328"/>
        </pc:sldMkLst>
        <pc:spChg chg="mod">
          <ac:chgData name="Tomás Shoemaker Simão Gonçalves" userId="a9d62b8f-9215-4dfe-a3e5-2ecfc4b3dd9a" providerId="ADAL" clId="{E69AC1FB-9437-4EFA-B5DB-40B9B6E2644C}" dt="2024-05-16T16:54:04.450" v="2296" actId="20577"/>
          <ac:spMkLst>
            <pc:docMk/>
            <pc:sldMk cId="1492285840" sldId="328"/>
            <ac:spMk id="2" creationId="{89DFD32D-6508-96B2-E7B9-0B50D3FAB32B}"/>
          </ac:spMkLst>
        </pc:spChg>
        <pc:spChg chg="mod">
          <ac:chgData name="Tomás Shoemaker Simão Gonçalves" userId="a9d62b8f-9215-4dfe-a3e5-2ecfc4b3dd9a" providerId="ADAL" clId="{E69AC1FB-9437-4EFA-B5DB-40B9B6E2644C}" dt="2024-05-16T17:12:53.423" v="2687" actId="20577"/>
          <ac:spMkLst>
            <pc:docMk/>
            <pc:sldMk cId="1492285840" sldId="328"/>
            <ac:spMk id="5" creationId="{F706001E-44D1-F7B4-1683-4DC11DD8C048}"/>
          </ac:spMkLst>
        </pc:spChg>
        <pc:graphicFrameChg chg="mod modGraphic">
          <ac:chgData name="Tomás Shoemaker Simão Gonçalves" userId="a9d62b8f-9215-4dfe-a3e5-2ecfc4b3dd9a" providerId="ADAL" clId="{E69AC1FB-9437-4EFA-B5DB-40B9B6E2644C}" dt="2024-05-17T15:00:58.205" v="4030" actId="1076"/>
          <ac:graphicFrameMkLst>
            <pc:docMk/>
            <pc:sldMk cId="1492285840" sldId="328"/>
            <ac:graphicFrameMk id="7" creationId="{8E6D05DA-6799-4773-E750-23E1C40BA5A5}"/>
          </ac:graphicFrameMkLst>
        </pc:graphicFrameChg>
        <pc:picChg chg="add del mod ord">
          <ac:chgData name="Tomás Shoemaker Simão Gonçalves" userId="a9d62b8f-9215-4dfe-a3e5-2ecfc4b3dd9a" providerId="ADAL" clId="{E69AC1FB-9437-4EFA-B5DB-40B9B6E2644C}" dt="2024-05-17T14:38:15.070" v="3745" actId="478"/>
          <ac:picMkLst>
            <pc:docMk/>
            <pc:sldMk cId="1492285840" sldId="328"/>
            <ac:picMk id="6" creationId="{D455E0A8-D4EB-E685-29EA-94D14D301F7D}"/>
          </ac:picMkLst>
        </pc:picChg>
        <pc:picChg chg="add del mod">
          <ac:chgData name="Tomás Shoemaker Simão Gonçalves" userId="a9d62b8f-9215-4dfe-a3e5-2ecfc4b3dd9a" providerId="ADAL" clId="{E69AC1FB-9437-4EFA-B5DB-40B9B6E2644C}" dt="2024-05-17T14:57:05.866" v="4016" actId="478"/>
          <ac:picMkLst>
            <pc:docMk/>
            <pc:sldMk cId="1492285840" sldId="328"/>
            <ac:picMk id="8" creationId="{F1F2F6FF-27CA-2E0F-B64B-CF19A8B4D474}"/>
          </ac:picMkLst>
        </pc:picChg>
        <pc:picChg chg="add del mod">
          <ac:chgData name="Tomás Shoemaker Simão Gonçalves" userId="a9d62b8f-9215-4dfe-a3e5-2ecfc4b3dd9a" providerId="ADAL" clId="{E69AC1FB-9437-4EFA-B5DB-40B9B6E2644C}" dt="2024-05-17T14:38:16.008" v="3746" actId="478"/>
          <ac:picMkLst>
            <pc:docMk/>
            <pc:sldMk cId="1492285840" sldId="328"/>
            <ac:picMk id="9" creationId="{CC0503D5-620D-71C3-64D9-54038A9757CA}"/>
          </ac:picMkLst>
        </pc:picChg>
        <pc:picChg chg="add del mod">
          <ac:chgData name="Tomás Shoemaker Simão Gonçalves" userId="a9d62b8f-9215-4dfe-a3e5-2ecfc4b3dd9a" providerId="ADAL" clId="{E69AC1FB-9437-4EFA-B5DB-40B9B6E2644C}" dt="2024-05-17T14:57:05.055" v="4015" actId="478"/>
          <ac:picMkLst>
            <pc:docMk/>
            <pc:sldMk cId="1492285840" sldId="328"/>
            <ac:picMk id="11" creationId="{79BC5912-B193-6FA6-7603-C7E59346AB1C}"/>
          </ac:picMkLst>
        </pc:picChg>
        <pc:picChg chg="add mod">
          <ac:chgData name="Tomás Shoemaker Simão Gonçalves" userId="a9d62b8f-9215-4dfe-a3e5-2ecfc4b3dd9a" providerId="ADAL" clId="{E69AC1FB-9437-4EFA-B5DB-40B9B6E2644C}" dt="2024-05-17T14:59:37.136" v="4024" actId="1076"/>
          <ac:picMkLst>
            <pc:docMk/>
            <pc:sldMk cId="1492285840" sldId="328"/>
            <ac:picMk id="13" creationId="{32C077A5-A9EE-E344-91D2-D013E9E29F2C}"/>
          </ac:picMkLst>
        </pc:picChg>
      </pc:sldChg>
      <pc:sldChg chg="addSp delSp modSp add mod delAnim modAnim">
        <pc:chgData name="Tomás Shoemaker Simão Gonçalves" userId="a9d62b8f-9215-4dfe-a3e5-2ecfc4b3dd9a" providerId="ADAL" clId="{E69AC1FB-9437-4EFA-B5DB-40B9B6E2644C}" dt="2024-05-17T15:00:51.069" v="4029" actId="1076"/>
        <pc:sldMkLst>
          <pc:docMk/>
          <pc:sldMk cId="4279249451" sldId="329"/>
        </pc:sldMkLst>
        <pc:spChg chg="mod">
          <ac:chgData name="Tomás Shoemaker Simão Gonçalves" userId="a9d62b8f-9215-4dfe-a3e5-2ecfc4b3dd9a" providerId="ADAL" clId="{E69AC1FB-9437-4EFA-B5DB-40B9B6E2644C}" dt="2024-05-16T16:54:10.614" v="2303" actId="20577"/>
          <ac:spMkLst>
            <pc:docMk/>
            <pc:sldMk cId="4279249451" sldId="329"/>
            <ac:spMk id="2" creationId="{89DFD32D-6508-96B2-E7B9-0B50D3FAB32B}"/>
          </ac:spMkLst>
        </pc:spChg>
        <pc:spChg chg="del mod">
          <ac:chgData name="Tomás Shoemaker Simão Gonçalves" userId="a9d62b8f-9215-4dfe-a3e5-2ecfc4b3dd9a" providerId="ADAL" clId="{E69AC1FB-9437-4EFA-B5DB-40B9B6E2644C}" dt="2024-05-16T17:14:14.153" v="2715" actId="478"/>
          <ac:spMkLst>
            <pc:docMk/>
            <pc:sldMk cId="4279249451" sldId="329"/>
            <ac:spMk id="5" creationId="{F706001E-44D1-F7B4-1683-4DC11DD8C048}"/>
          </ac:spMkLst>
        </pc:spChg>
        <pc:graphicFrameChg chg="mod modGraphic">
          <ac:chgData name="Tomás Shoemaker Simão Gonçalves" userId="a9d62b8f-9215-4dfe-a3e5-2ecfc4b3dd9a" providerId="ADAL" clId="{E69AC1FB-9437-4EFA-B5DB-40B9B6E2644C}" dt="2024-05-17T15:00:51.069" v="4029" actId="1076"/>
          <ac:graphicFrameMkLst>
            <pc:docMk/>
            <pc:sldMk cId="4279249451" sldId="329"/>
            <ac:graphicFrameMk id="7" creationId="{8E6D05DA-6799-4773-E750-23E1C40BA5A5}"/>
          </ac:graphicFrameMkLst>
        </pc:graphicFrameChg>
        <pc:picChg chg="add del mod">
          <ac:chgData name="Tomás Shoemaker Simão Gonçalves" userId="a9d62b8f-9215-4dfe-a3e5-2ecfc4b3dd9a" providerId="ADAL" clId="{E69AC1FB-9437-4EFA-B5DB-40B9B6E2644C}" dt="2024-05-17T14:57:09.698" v="4018" actId="478"/>
          <ac:picMkLst>
            <pc:docMk/>
            <pc:sldMk cId="4279249451" sldId="329"/>
            <ac:picMk id="5" creationId="{5B81B232-01FF-EFEC-4B01-17989DE5330C}"/>
          </ac:picMkLst>
        </pc:picChg>
        <pc:picChg chg="add del mod ord">
          <ac:chgData name="Tomás Shoemaker Simão Gonçalves" userId="a9d62b8f-9215-4dfe-a3e5-2ecfc4b3dd9a" providerId="ADAL" clId="{E69AC1FB-9437-4EFA-B5DB-40B9B6E2644C}" dt="2024-05-17T14:38:57.652" v="3752" actId="478"/>
          <ac:picMkLst>
            <pc:docMk/>
            <pc:sldMk cId="4279249451" sldId="329"/>
            <ac:picMk id="6" creationId="{2E6FC51C-1586-29B8-0E11-5BFEC0222616}"/>
          </ac:picMkLst>
        </pc:picChg>
        <pc:picChg chg="add del mod">
          <ac:chgData name="Tomás Shoemaker Simão Gonçalves" userId="a9d62b8f-9215-4dfe-a3e5-2ecfc4b3dd9a" providerId="ADAL" clId="{E69AC1FB-9437-4EFA-B5DB-40B9B6E2644C}" dt="2024-05-17T14:38:58.527" v="3753" actId="478"/>
          <ac:picMkLst>
            <pc:docMk/>
            <pc:sldMk cId="4279249451" sldId="329"/>
            <ac:picMk id="9" creationId="{DB89128F-D366-BDD5-9F2F-327940FA9E5E}"/>
          </ac:picMkLst>
        </pc:picChg>
        <pc:picChg chg="add del mod">
          <ac:chgData name="Tomás Shoemaker Simão Gonçalves" userId="a9d62b8f-9215-4dfe-a3e5-2ecfc4b3dd9a" providerId="ADAL" clId="{E69AC1FB-9437-4EFA-B5DB-40B9B6E2644C}" dt="2024-05-17T14:57:08.386" v="4017" actId="478"/>
          <ac:picMkLst>
            <pc:docMk/>
            <pc:sldMk cId="4279249451" sldId="329"/>
            <ac:picMk id="10" creationId="{B4A88BE7-6842-87CE-C66C-7EE53E4B9E63}"/>
          </ac:picMkLst>
        </pc:picChg>
        <pc:picChg chg="add mod">
          <ac:chgData name="Tomás Shoemaker Simão Gonçalves" userId="a9d62b8f-9215-4dfe-a3e5-2ecfc4b3dd9a" providerId="ADAL" clId="{E69AC1FB-9437-4EFA-B5DB-40B9B6E2644C}" dt="2024-05-17T15:00:45.359" v="4028" actId="1076"/>
          <ac:picMkLst>
            <pc:docMk/>
            <pc:sldMk cId="4279249451" sldId="329"/>
            <ac:picMk id="12" creationId="{8D2687FF-5A6B-046D-12B4-3363D122C23E}"/>
          </ac:picMkLst>
        </pc:picChg>
      </pc:sldChg>
      <pc:sldChg chg="modSp mod">
        <pc:chgData name="Tomás Shoemaker Simão Gonçalves" userId="a9d62b8f-9215-4dfe-a3e5-2ecfc4b3dd9a" providerId="ADAL" clId="{E69AC1FB-9437-4EFA-B5DB-40B9B6E2644C}" dt="2024-05-16T18:38:09.866" v="2902" actId="20577"/>
        <pc:sldMkLst>
          <pc:docMk/>
          <pc:sldMk cId="636850645" sldId="330"/>
        </pc:sldMkLst>
        <pc:spChg chg="mod">
          <ac:chgData name="Tomás Shoemaker Simão Gonçalves" userId="a9d62b8f-9215-4dfe-a3e5-2ecfc4b3dd9a" providerId="ADAL" clId="{E69AC1FB-9437-4EFA-B5DB-40B9B6E2644C}" dt="2024-05-16T18:38:09.866" v="2902" actId="20577"/>
          <ac:spMkLst>
            <pc:docMk/>
            <pc:sldMk cId="636850645" sldId="330"/>
            <ac:spMk id="3" creationId="{281105C5-44E1-6128-D52F-2586EB705ADC}"/>
          </ac:spMkLst>
        </pc:spChg>
      </pc:sldChg>
    </pc:docChg>
  </pc:docChgLst>
  <pc:docChgLst>
    <pc:chgData name="Luc Marcel Pellinger" userId="c88de5c9-1fa3-4a69-8bb8-d98a773f2599" providerId="ADAL" clId="{196F8E04-0BDA-4EA7-9D47-57024E56AF25}"/>
    <pc:docChg chg="undo redo custSel modSld modMainMaster">
      <pc:chgData name="Luc Marcel Pellinger" userId="c88de5c9-1fa3-4a69-8bb8-d98a773f2599" providerId="ADAL" clId="{196F8E04-0BDA-4EA7-9D47-57024E56AF25}" dt="2024-05-17T17:17:52.706" v="1215" actId="21"/>
      <pc:docMkLst>
        <pc:docMk/>
      </pc:docMkLst>
      <pc:sldChg chg="addSp delSp modSp mod">
        <pc:chgData name="Luc Marcel Pellinger" userId="c88de5c9-1fa3-4a69-8bb8-d98a773f2599" providerId="ADAL" clId="{196F8E04-0BDA-4EA7-9D47-57024E56AF25}" dt="2024-05-17T17:05:34.437" v="90" actId="21"/>
        <pc:sldMkLst>
          <pc:docMk/>
          <pc:sldMk cId="2401001035" sldId="300"/>
        </pc:sldMkLst>
        <pc:spChg chg="mod">
          <ac:chgData name="Luc Marcel Pellinger" userId="c88de5c9-1fa3-4a69-8bb8-d98a773f2599" providerId="ADAL" clId="{196F8E04-0BDA-4EA7-9D47-57024E56AF25}" dt="2024-05-17T17:04:42.369" v="74" actId="1076"/>
          <ac:spMkLst>
            <pc:docMk/>
            <pc:sldMk cId="2401001035" sldId="300"/>
            <ac:spMk id="4" creationId="{6C9FD9ED-BDC2-080D-7C01-5BD5C9EFD45C}"/>
          </ac:spMkLst>
        </pc:spChg>
        <pc:spChg chg="del">
          <ac:chgData name="Luc Marcel Pellinger" userId="c88de5c9-1fa3-4a69-8bb8-d98a773f2599" providerId="ADAL" clId="{196F8E04-0BDA-4EA7-9D47-57024E56AF25}" dt="2024-05-17T17:04:51.697" v="76" actId="478"/>
          <ac:spMkLst>
            <pc:docMk/>
            <pc:sldMk cId="2401001035" sldId="300"/>
            <ac:spMk id="7" creationId="{F8CAB2F6-047B-6019-51D3-C08BC8820565}"/>
          </ac:spMkLst>
        </pc:spChg>
        <pc:spChg chg="add mod">
          <ac:chgData name="Luc Marcel Pellinger" userId="c88de5c9-1fa3-4a69-8bb8-d98a773f2599" providerId="ADAL" clId="{196F8E04-0BDA-4EA7-9D47-57024E56AF25}" dt="2024-05-17T17:00:41.030" v="43" actId="207"/>
          <ac:spMkLst>
            <pc:docMk/>
            <pc:sldMk cId="2401001035" sldId="300"/>
            <ac:spMk id="10" creationId="{6F930BEF-B55E-A025-D65A-1EF934A2409F}"/>
          </ac:spMkLst>
        </pc:spChg>
        <pc:picChg chg="add del mod">
          <ac:chgData name="Luc Marcel Pellinger" userId="c88de5c9-1fa3-4a69-8bb8-d98a773f2599" providerId="ADAL" clId="{196F8E04-0BDA-4EA7-9D47-57024E56AF25}" dt="2024-05-17T17:04:19.025" v="68" actId="21"/>
          <ac:picMkLst>
            <pc:docMk/>
            <pc:sldMk cId="2401001035" sldId="300"/>
            <ac:picMk id="8" creationId="{D787EEA1-87BB-282A-4361-1095D3740AAA}"/>
          </ac:picMkLst>
        </pc:picChg>
        <pc:picChg chg="add mod">
          <ac:chgData name="Luc Marcel Pellinger" userId="c88de5c9-1fa3-4a69-8bb8-d98a773f2599" providerId="ADAL" clId="{196F8E04-0BDA-4EA7-9D47-57024E56AF25}" dt="2024-05-17T16:57:49.763" v="14" actId="1076"/>
          <ac:picMkLst>
            <pc:docMk/>
            <pc:sldMk cId="2401001035" sldId="300"/>
            <ac:picMk id="9" creationId="{8794D768-277F-69ED-0B3B-CD84446F68D2}"/>
          </ac:picMkLst>
        </pc:picChg>
        <pc:picChg chg="add mod">
          <ac:chgData name="Luc Marcel Pellinger" userId="c88de5c9-1fa3-4a69-8bb8-d98a773f2599" providerId="ADAL" clId="{196F8E04-0BDA-4EA7-9D47-57024E56AF25}" dt="2024-05-17T17:04:48.353" v="75" actId="1076"/>
          <ac:picMkLst>
            <pc:docMk/>
            <pc:sldMk cId="2401001035" sldId="300"/>
            <ac:picMk id="11" creationId="{D787EEA1-87BB-282A-4361-1095D3740AAA}"/>
          </ac:picMkLst>
        </pc:picChg>
        <pc:picChg chg="add del mod">
          <ac:chgData name="Luc Marcel Pellinger" userId="c88de5c9-1fa3-4a69-8bb8-d98a773f2599" providerId="ADAL" clId="{196F8E04-0BDA-4EA7-9D47-57024E56AF25}" dt="2024-05-17T17:05:28.814" v="88" actId="21"/>
          <ac:picMkLst>
            <pc:docMk/>
            <pc:sldMk cId="2401001035" sldId="300"/>
            <ac:picMk id="13" creationId="{7CD2D36E-700E-7D54-B044-483C1992DE96}"/>
          </ac:picMkLst>
        </pc:picChg>
        <pc:picChg chg="add del mod">
          <ac:chgData name="Luc Marcel Pellinger" userId="c88de5c9-1fa3-4a69-8bb8-d98a773f2599" providerId="ADAL" clId="{196F8E04-0BDA-4EA7-9D47-57024E56AF25}" dt="2024-05-17T17:05:34.437" v="90" actId="21"/>
          <ac:picMkLst>
            <pc:docMk/>
            <pc:sldMk cId="2401001035" sldId="300"/>
            <ac:picMk id="14" creationId="{AB297CE0-045B-083F-12FA-1FF68AF3062E}"/>
          </ac:picMkLst>
        </pc:picChg>
      </pc:sldChg>
      <pc:sldChg chg="addSp delSp modSp mod">
        <pc:chgData name="Luc Marcel Pellinger" userId="c88de5c9-1fa3-4a69-8bb8-d98a773f2599" providerId="ADAL" clId="{196F8E04-0BDA-4EA7-9D47-57024E56AF25}" dt="2024-05-17T16:58:57.131" v="26" actId="21"/>
        <pc:sldMkLst>
          <pc:docMk/>
          <pc:sldMk cId="127659681" sldId="306"/>
        </pc:sldMkLst>
        <pc:picChg chg="add del mod">
          <ac:chgData name="Luc Marcel Pellinger" userId="c88de5c9-1fa3-4a69-8bb8-d98a773f2599" providerId="ADAL" clId="{196F8E04-0BDA-4EA7-9D47-57024E56AF25}" dt="2024-05-17T16:58:57.131" v="26" actId="21"/>
          <ac:picMkLst>
            <pc:docMk/>
            <pc:sldMk cId="127659681" sldId="306"/>
            <ac:picMk id="19" creationId="{6D2464FE-0513-D7A1-FAF5-F8A889D1FCDB}"/>
          </ac:picMkLst>
        </pc:picChg>
      </pc:sldChg>
      <pc:sldChg chg="addSp modSp mod modTransition">
        <pc:chgData name="Luc Marcel Pellinger" userId="c88de5c9-1fa3-4a69-8bb8-d98a773f2599" providerId="ADAL" clId="{196F8E04-0BDA-4EA7-9D47-57024E56AF25}" dt="2024-05-17T17:14:23.389" v="1035"/>
        <pc:sldMkLst>
          <pc:docMk/>
          <pc:sldMk cId="604316788" sldId="314"/>
        </pc:sldMkLst>
        <pc:graphicFrameChg chg="add mod">
          <ac:chgData name="Luc Marcel Pellinger" userId="c88de5c9-1fa3-4a69-8bb8-d98a773f2599" providerId="ADAL" clId="{196F8E04-0BDA-4EA7-9D47-57024E56AF25}" dt="2024-05-17T17:13:50.635" v="894" actId="1037"/>
          <ac:graphicFrameMkLst>
            <pc:docMk/>
            <pc:sldMk cId="604316788" sldId="314"/>
            <ac:graphicFrameMk id="4" creationId="{CDA6CC90-009B-BB96-926E-3369E0372155}"/>
          </ac:graphicFrameMkLst>
        </pc:graphicFrameChg>
        <pc:picChg chg="add mod">
          <ac:chgData name="Luc Marcel Pellinger" userId="c88de5c9-1fa3-4a69-8bb8-d98a773f2599" providerId="ADAL" clId="{196F8E04-0BDA-4EA7-9D47-57024E56AF25}" dt="2024-05-17T17:13:50.635" v="894" actId="1037"/>
          <ac:picMkLst>
            <pc:docMk/>
            <pc:sldMk cId="604316788" sldId="314"/>
            <ac:picMk id="5" creationId="{3212FF62-C3A0-9EDC-5142-64A99484AFC6}"/>
          </ac:picMkLst>
        </pc:picChg>
      </pc:sldChg>
      <pc:sldChg chg="addSp delSp modSp mod modTransition">
        <pc:chgData name="Luc Marcel Pellinger" userId="c88de5c9-1fa3-4a69-8bb8-d98a773f2599" providerId="ADAL" clId="{196F8E04-0BDA-4EA7-9D47-57024E56AF25}" dt="2024-05-17T17:11:09.536" v="247"/>
        <pc:sldMkLst>
          <pc:docMk/>
          <pc:sldMk cId="577759264" sldId="317"/>
        </pc:sldMkLst>
        <pc:picChg chg="add mod">
          <ac:chgData name="Luc Marcel Pellinger" userId="c88de5c9-1fa3-4a69-8bb8-d98a773f2599" providerId="ADAL" clId="{196F8E04-0BDA-4EA7-9D47-57024E56AF25}" dt="2024-05-17T17:01:10.242" v="46" actId="1076"/>
          <ac:picMkLst>
            <pc:docMk/>
            <pc:sldMk cId="577759264" sldId="317"/>
            <ac:picMk id="5" creationId="{33674119-F76B-000C-041B-1709482D7BFC}"/>
          </ac:picMkLst>
        </pc:picChg>
        <pc:picChg chg="add del mod">
          <ac:chgData name="Luc Marcel Pellinger" userId="c88de5c9-1fa3-4a69-8bb8-d98a773f2599" providerId="ADAL" clId="{196F8E04-0BDA-4EA7-9D47-57024E56AF25}" dt="2024-05-17T17:01:23.244" v="49" actId="21"/>
          <ac:picMkLst>
            <pc:docMk/>
            <pc:sldMk cId="577759264" sldId="317"/>
            <ac:picMk id="9" creationId="{A142D2D7-6131-5D10-E4D9-3E85BE183176}"/>
          </ac:picMkLst>
        </pc:picChg>
        <pc:picChg chg="add mod">
          <ac:chgData name="Luc Marcel Pellinger" userId="c88de5c9-1fa3-4a69-8bb8-d98a773f2599" providerId="ADAL" clId="{196F8E04-0BDA-4EA7-9D47-57024E56AF25}" dt="2024-05-17T17:03:23.352" v="65" actId="14826"/>
          <ac:picMkLst>
            <pc:docMk/>
            <pc:sldMk cId="577759264" sldId="317"/>
            <ac:picMk id="10" creationId="{E4FC71E2-1F3B-2BBF-1075-D3F0E6212276}"/>
          </ac:picMkLst>
        </pc:picChg>
        <pc:picChg chg="add mod">
          <ac:chgData name="Luc Marcel Pellinger" userId="c88de5c9-1fa3-4a69-8bb8-d98a773f2599" providerId="ADAL" clId="{196F8E04-0BDA-4EA7-9D47-57024E56AF25}" dt="2024-05-17T17:03:00.634" v="53"/>
          <ac:picMkLst>
            <pc:docMk/>
            <pc:sldMk cId="577759264" sldId="317"/>
            <ac:picMk id="12" creationId="{460224C7-58B4-DF15-8C7F-3ECE1A287BD7}"/>
          </ac:picMkLst>
        </pc:picChg>
        <pc:picChg chg="add del mod">
          <ac:chgData name="Luc Marcel Pellinger" userId="c88de5c9-1fa3-4a69-8bb8-d98a773f2599" providerId="ADAL" clId="{196F8E04-0BDA-4EA7-9D47-57024E56AF25}" dt="2024-05-17T17:03:27.422" v="67" actId="21"/>
          <ac:picMkLst>
            <pc:docMk/>
            <pc:sldMk cId="577759264" sldId="317"/>
            <ac:picMk id="17" creationId="{7F9FFB46-A2BA-326D-C9CC-CC0DAB33175D}"/>
          </ac:picMkLst>
        </pc:picChg>
      </pc:sldChg>
      <pc:sldChg chg="addSp modSp mod">
        <pc:chgData name="Luc Marcel Pellinger" userId="c88de5c9-1fa3-4a69-8bb8-d98a773f2599" providerId="ADAL" clId="{196F8E04-0BDA-4EA7-9D47-57024E56AF25}" dt="2024-05-17T17:08:06.257" v="152" actId="1076"/>
        <pc:sldMkLst>
          <pc:docMk/>
          <pc:sldMk cId="2970629482" sldId="321"/>
        </pc:sldMkLst>
        <pc:spChg chg="add mod">
          <ac:chgData name="Luc Marcel Pellinger" userId="c88de5c9-1fa3-4a69-8bb8-d98a773f2599" providerId="ADAL" clId="{196F8E04-0BDA-4EA7-9D47-57024E56AF25}" dt="2024-05-17T17:07:54.289" v="151" actId="1076"/>
          <ac:spMkLst>
            <pc:docMk/>
            <pc:sldMk cId="2970629482" sldId="321"/>
            <ac:spMk id="13" creationId="{A14E1D48-5F59-BFBE-619E-006F1237D0E8}"/>
          </ac:spMkLst>
        </pc:spChg>
        <pc:spChg chg="mod">
          <ac:chgData name="Luc Marcel Pellinger" userId="c88de5c9-1fa3-4a69-8bb8-d98a773f2599" providerId="ADAL" clId="{196F8E04-0BDA-4EA7-9D47-57024E56AF25}" dt="2024-05-17T17:08:06.257" v="152" actId="1076"/>
          <ac:spMkLst>
            <pc:docMk/>
            <pc:sldMk cId="2970629482" sldId="321"/>
            <ac:spMk id="26" creationId="{CBA1AAD0-6D7B-083C-8A3C-4D9FC143648D}"/>
          </ac:spMkLst>
        </pc:spChg>
        <pc:spChg chg="mod">
          <ac:chgData name="Luc Marcel Pellinger" userId="c88de5c9-1fa3-4a69-8bb8-d98a773f2599" providerId="ADAL" clId="{196F8E04-0BDA-4EA7-9D47-57024E56AF25}" dt="2024-05-17T17:06:44.597" v="113" actId="20577"/>
          <ac:spMkLst>
            <pc:docMk/>
            <pc:sldMk cId="2970629482" sldId="321"/>
            <ac:spMk id="29" creationId="{7108B188-BE1D-4E7E-C7B4-5C45F5300EB8}"/>
          </ac:spMkLst>
        </pc:spChg>
        <pc:picChg chg="add mod">
          <ac:chgData name="Luc Marcel Pellinger" userId="c88de5c9-1fa3-4a69-8bb8-d98a773f2599" providerId="ADAL" clId="{196F8E04-0BDA-4EA7-9D47-57024E56AF25}" dt="2024-05-17T17:06:29.111" v="111" actId="1036"/>
          <ac:picMkLst>
            <pc:docMk/>
            <pc:sldMk cId="2970629482" sldId="321"/>
            <ac:picMk id="12" creationId="{AB297CE0-045B-083F-12FA-1FF68AF3062E}"/>
          </ac:picMkLst>
        </pc:picChg>
      </pc:sldChg>
      <pc:sldChg chg="addSp delSp modSp mod">
        <pc:chgData name="Luc Marcel Pellinger" userId="c88de5c9-1fa3-4a69-8bb8-d98a773f2599" providerId="ADAL" clId="{196F8E04-0BDA-4EA7-9D47-57024E56AF25}" dt="2024-05-17T17:09:31.903" v="159"/>
        <pc:sldMkLst>
          <pc:docMk/>
          <pc:sldMk cId="3277142740" sldId="327"/>
        </pc:sldMkLst>
        <pc:spChg chg="add mod">
          <ac:chgData name="Luc Marcel Pellinger" userId="c88de5c9-1fa3-4a69-8bb8-d98a773f2599" providerId="ADAL" clId="{196F8E04-0BDA-4EA7-9D47-57024E56AF25}" dt="2024-05-17T17:09:31.903" v="159"/>
          <ac:spMkLst>
            <pc:docMk/>
            <pc:sldMk cId="3277142740" sldId="327"/>
            <ac:spMk id="7" creationId="{56B57F78-CE39-D206-BA1A-6BEAD5A26135}"/>
          </ac:spMkLst>
        </pc:spChg>
        <pc:spChg chg="add mod">
          <ac:chgData name="Luc Marcel Pellinger" userId="c88de5c9-1fa3-4a69-8bb8-d98a773f2599" providerId="ADAL" clId="{196F8E04-0BDA-4EA7-9D47-57024E56AF25}" dt="2024-05-17T17:09:31.903" v="159"/>
          <ac:spMkLst>
            <pc:docMk/>
            <pc:sldMk cId="3277142740" sldId="327"/>
            <ac:spMk id="8" creationId="{84E80B3D-541F-70AE-490F-CFC3A6F03003}"/>
          </ac:spMkLst>
        </pc:spChg>
        <pc:spChg chg="del">
          <ac:chgData name="Luc Marcel Pellinger" userId="c88de5c9-1fa3-4a69-8bb8-d98a773f2599" providerId="ADAL" clId="{196F8E04-0BDA-4EA7-9D47-57024E56AF25}" dt="2024-05-17T17:09:31.305" v="158" actId="478"/>
          <ac:spMkLst>
            <pc:docMk/>
            <pc:sldMk cId="3277142740" sldId="327"/>
            <ac:spMk id="26" creationId="{CBA1AAD0-6D7B-083C-8A3C-4D9FC143648D}"/>
          </ac:spMkLst>
        </pc:spChg>
        <pc:spChg chg="del">
          <ac:chgData name="Luc Marcel Pellinger" userId="c88de5c9-1fa3-4a69-8bb8-d98a773f2599" providerId="ADAL" clId="{196F8E04-0BDA-4EA7-9D47-57024E56AF25}" dt="2024-05-17T17:09:31.305" v="158" actId="478"/>
          <ac:spMkLst>
            <pc:docMk/>
            <pc:sldMk cId="3277142740" sldId="327"/>
            <ac:spMk id="33" creationId="{C62E3ECD-E56C-A9A6-BC63-BE44E5A3AFC9}"/>
          </ac:spMkLst>
        </pc:spChg>
      </pc:sldChg>
      <pc:sldChg chg="addSp delSp modSp mod modTransition">
        <pc:chgData name="Luc Marcel Pellinger" userId="c88de5c9-1fa3-4a69-8bb8-d98a773f2599" providerId="ADAL" clId="{196F8E04-0BDA-4EA7-9D47-57024E56AF25}" dt="2024-05-17T17:17:52.706" v="1215" actId="21"/>
        <pc:sldMkLst>
          <pc:docMk/>
          <pc:sldMk cId="1492285840" sldId="328"/>
        </pc:sldMkLst>
        <pc:graphicFrameChg chg="add mod">
          <ac:chgData name="Luc Marcel Pellinger" userId="c88de5c9-1fa3-4a69-8bb8-d98a773f2599" providerId="ADAL" clId="{196F8E04-0BDA-4EA7-9D47-57024E56AF25}" dt="2024-05-17T17:12:58.781" v="618" actId="1037"/>
          <ac:graphicFrameMkLst>
            <pc:docMk/>
            <pc:sldMk cId="1492285840" sldId="328"/>
            <ac:graphicFrameMk id="6" creationId="{A41A6901-BA70-AD2A-AF8A-603060F1C353}"/>
          </ac:graphicFrameMkLst>
        </pc:graphicFrameChg>
        <pc:graphicFrameChg chg="add del mod">
          <ac:chgData name="Luc Marcel Pellinger" userId="c88de5c9-1fa3-4a69-8bb8-d98a773f2599" providerId="ADAL" clId="{196F8E04-0BDA-4EA7-9D47-57024E56AF25}" dt="2024-05-17T17:17:52.706" v="1215" actId="21"/>
          <ac:graphicFrameMkLst>
            <pc:docMk/>
            <pc:sldMk cId="1492285840" sldId="328"/>
            <ac:graphicFrameMk id="7" creationId="{8E6D05DA-6799-4773-E750-23E1C40BA5A5}"/>
          </ac:graphicFrameMkLst>
        </pc:graphicFrameChg>
        <pc:graphicFrameChg chg="add mod">
          <ac:chgData name="Luc Marcel Pellinger" userId="c88de5c9-1fa3-4a69-8bb8-d98a773f2599" providerId="ADAL" clId="{196F8E04-0BDA-4EA7-9D47-57024E56AF25}" dt="2024-05-17T17:14:15.307" v="1034" actId="1038"/>
          <ac:graphicFrameMkLst>
            <pc:docMk/>
            <pc:sldMk cId="1492285840" sldId="328"/>
            <ac:graphicFrameMk id="9" creationId="{1DF95C17-57EB-1FDB-1AA7-3E58D2DC4B24}"/>
          </ac:graphicFrameMkLst>
        </pc:graphicFrameChg>
        <pc:graphicFrameChg chg="add mod ord">
          <ac:chgData name="Luc Marcel Pellinger" userId="c88de5c9-1fa3-4a69-8bb8-d98a773f2599" providerId="ADAL" clId="{196F8E04-0BDA-4EA7-9D47-57024E56AF25}" dt="2024-05-17T17:17:52.133" v="1214" actId="167"/>
          <ac:graphicFrameMkLst>
            <pc:docMk/>
            <pc:sldMk cId="1492285840" sldId="328"/>
            <ac:graphicFrameMk id="11" creationId="{3891F6DC-AE51-E0FF-ADF4-68BAE53312A2}"/>
          </ac:graphicFrameMkLst>
        </pc:graphicFrameChg>
        <pc:picChg chg="add del mod">
          <ac:chgData name="Luc Marcel Pellinger" userId="c88de5c9-1fa3-4a69-8bb8-d98a773f2599" providerId="ADAL" clId="{196F8E04-0BDA-4EA7-9D47-57024E56AF25}" dt="2024-05-17T17:12:52.791" v="481" actId="478"/>
          <ac:picMkLst>
            <pc:docMk/>
            <pc:sldMk cId="1492285840" sldId="328"/>
            <ac:picMk id="4" creationId="{2044F225-1D1B-EB06-55BB-19EC27A0D7DE}"/>
          </ac:picMkLst>
        </pc:picChg>
        <pc:picChg chg="add mod">
          <ac:chgData name="Luc Marcel Pellinger" userId="c88de5c9-1fa3-4a69-8bb8-d98a773f2599" providerId="ADAL" clId="{196F8E04-0BDA-4EA7-9D47-57024E56AF25}" dt="2024-05-17T17:12:58.781" v="618" actId="1037"/>
          <ac:picMkLst>
            <pc:docMk/>
            <pc:sldMk cId="1492285840" sldId="328"/>
            <ac:picMk id="8" creationId="{47F2199D-30A8-7878-03A4-1A6F3D6EE0E4}"/>
          </ac:picMkLst>
        </pc:picChg>
        <pc:picChg chg="add mod">
          <ac:chgData name="Luc Marcel Pellinger" userId="c88de5c9-1fa3-4a69-8bb8-d98a773f2599" providerId="ADAL" clId="{196F8E04-0BDA-4EA7-9D47-57024E56AF25}" dt="2024-05-17T17:14:15.307" v="1034" actId="1038"/>
          <ac:picMkLst>
            <pc:docMk/>
            <pc:sldMk cId="1492285840" sldId="328"/>
            <ac:picMk id="10" creationId="{F8AFD937-72C6-B9E1-7E30-FEDBAA662C1D}"/>
          </ac:picMkLst>
        </pc:picChg>
      </pc:sldChg>
      <pc:sldChg chg="addSp delSp modSp mod modTransition">
        <pc:chgData name="Luc Marcel Pellinger" userId="c88de5c9-1fa3-4a69-8bb8-d98a773f2599" providerId="ADAL" clId="{196F8E04-0BDA-4EA7-9D47-57024E56AF25}" dt="2024-05-17T17:13:12.534" v="758" actId="1038"/>
        <pc:sldMkLst>
          <pc:docMk/>
          <pc:sldMk cId="4279249451" sldId="329"/>
        </pc:sldMkLst>
        <pc:graphicFrameChg chg="add mod">
          <ac:chgData name="Luc Marcel Pellinger" userId="c88de5c9-1fa3-4a69-8bb8-d98a773f2599" providerId="ADAL" clId="{196F8E04-0BDA-4EA7-9D47-57024E56AF25}" dt="2024-05-17T17:13:12.534" v="758" actId="1038"/>
          <ac:graphicFrameMkLst>
            <pc:docMk/>
            <pc:sldMk cId="4279249451" sldId="329"/>
            <ac:graphicFrameMk id="8" creationId="{1786A53C-427A-E3F9-6C7C-D8E8EAF551D9}"/>
          </ac:graphicFrameMkLst>
        </pc:graphicFrameChg>
        <pc:picChg chg="add mod">
          <ac:chgData name="Luc Marcel Pellinger" userId="c88de5c9-1fa3-4a69-8bb8-d98a773f2599" providerId="ADAL" clId="{196F8E04-0BDA-4EA7-9D47-57024E56AF25}" dt="2024-05-17T17:11:00.260" v="246" actId="1037"/>
          <ac:picMkLst>
            <pc:docMk/>
            <pc:sldMk cId="4279249451" sldId="329"/>
            <ac:picMk id="4" creationId="{123F3052-1C63-C078-D5AD-15AC25949854}"/>
          </ac:picMkLst>
        </pc:picChg>
        <pc:picChg chg="add mod">
          <ac:chgData name="Luc Marcel Pellinger" userId="c88de5c9-1fa3-4a69-8bb8-d98a773f2599" providerId="ADAL" clId="{196F8E04-0BDA-4EA7-9D47-57024E56AF25}" dt="2024-05-17T17:11:00.260" v="246" actId="1037"/>
          <ac:picMkLst>
            <pc:docMk/>
            <pc:sldMk cId="4279249451" sldId="329"/>
            <ac:picMk id="5" creationId="{0CD8FA2D-D1E2-5F0D-5F86-8866ABDC0ADC}"/>
          </ac:picMkLst>
        </pc:picChg>
        <pc:picChg chg="add del mod">
          <ac:chgData name="Luc Marcel Pellinger" userId="c88de5c9-1fa3-4a69-8bb8-d98a773f2599" providerId="ADAL" clId="{196F8E04-0BDA-4EA7-9D47-57024E56AF25}" dt="2024-05-17T17:13:06.210" v="619" actId="478"/>
          <ac:picMkLst>
            <pc:docMk/>
            <pc:sldMk cId="4279249451" sldId="329"/>
            <ac:picMk id="6" creationId="{9E2D781A-EB41-A5CB-0371-D5AB767DA576}"/>
          </ac:picMkLst>
        </pc:picChg>
        <pc:picChg chg="add mod">
          <ac:chgData name="Luc Marcel Pellinger" userId="c88de5c9-1fa3-4a69-8bb8-d98a773f2599" providerId="ADAL" clId="{196F8E04-0BDA-4EA7-9D47-57024E56AF25}" dt="2024-05-17T17:13:12.534" v="758" actId="1038"/>
          <ac:picMkLst>
            <pc:docMk/>
            <pc:sldMk cId="4279249451" sldId="329"/>
            <ac:picMk id="9" creationId="{1542A2D2-1471-D6EC-DC1B-A0CBDA8174DF}"/>
          </ac:picMkLst>
        </pc:picChg>
      </pc:sldChg>
      <pc:sldChg chg="modSp mod">
        <pc:chgData name="Luc Marcel Pellinger" userId="c88de5c9-1fa3-4a69-8bb8-d98a773f2599" providerId="ADAL" clId="{196F8E04-0BDA-4EA7-9D47-57024E56AF25}" dt="2024-05-17T17:08:43.215" v="157" actId="12789"/>
        <pc:sldMkLst>
          <pc:docMk/>
          <pc:sldMk cId="636850645" sldId="330"/>
        </pc:sldMkLst>
        <pc:spChg chg="mod">
          <ac:chgData name="Luc Marcel Pellinger" userId="c88de5c9-1fa3-4a69-8bb8-d98a773f2599" providerId="ADAL" clId="{196F8E04-0BDA-4EA7-9D47-57024E56AF25}" dt="2024-05-17T17:08:43.215" v="157" actId="12789"/>
          <ac:spMkLst>
            <pc:docMk/>
            <pc:sldMk cId="636850645" sldId="330"/>
            <ac:spMk id="26" creationId="{CBA1AAD0-6D7B-083C-8A3C-4D9FC143648D}"/>
          </ac:spMkLst>
        </pc:spChg>
        <pc:spChg chg="mod">
          <ac:chgData name="Luc Marcel Pellinger" userId="c88de5c9-1fa3-4a69-8bb8-d98a773f2599" providerId="ADAL" clId="{196F8E04-0BDA-4EA7-9D47-57024E56AF25}" dt="2024-05-17T17:08:43.215" v="157" actId="12789"/>
          <ac:spMkLst>
            <pc:docMk/>
            <pc:sldMk cId="636850645" sldId="330"/>
            <ac:spMk id="31" creationId="{BF36CCF0-CC6B-3BDE-F23D-A5979DDC9B79}"/>
          </ac:spMkLst>
        </pc:spChg>
        <pc:spChg chg="mod">
          <ac:chgData name="Luc Marcel Pellinger" userId="c88de5c9-1fa3-4a69-8bb8-d98a773f2599" providerId="ADAL" clId="{196F8E04-0BDA-4EA7-9D47-57024E56AF25}" dt="2024-05-17T17:08:43.215" v="157" actId="12789"/>
          <ac:spMkLst>
            <pc:docMk/>
            <pc:sldMk cId="636850645" sldId="330"/>
            <ac:spMk id="33" creationId="{C62E3ECD-E56C-A9A6-BC63-BE44E5A3AFC9}"/>
          </ac:spMkLst>
        </pc:spChg>
      </pc:sldChg>
      <pc:sldMasterChg chg="modSldLayout">
        <pc:chgData name="Luc Marcel Pellinger" userId="c88de5c9-1fa3-4a69-8bb8-d98a773f2599" providerId="ADAL" clId="{196F8E04-0BDA-4EA7-9D47-57024E56AF25}" dt="2024-05-17T16:59:37.386" v="35"/>
        <pc:sldMasterMkLst>
          <pc:docMk/>
          <pc:sldMasterMk cId="3249716214" sldId="2147483661"/>
        </pc:sldMasterMkLst>
        <pc:sldLayoutChg chg="addSp modSp mod">
          <pc:chgData name="Luc Marcel Pellinger" userId="c88de5c9-1fa3-4a69-8bb8-d98a773f2599" providerId="ADAL" clId="{196F8E04-0BDA-4EA7-9D47-57024E56AF25}" dt="2024-05-17T16:59:29.612" v="32" actId="1076"/>
          <pc:sldLayoutMkLst>
            <pc:docMk/>
            <pc:sldMasterMk cId="3249716214" sldId="2147483661"/>
            <pc:sldLayoutMk cId="3750836285" sldId="2147483662"/>
          </pc:sldLayoutMkLst>
          <pc:picChg chg="add mod">
            <ac:chgData name="Luc Marcel Pellinger" userId="c88de5c9-1fa3-4a69-8bb8-d98a773f2599" providerId="ADAL" clId="{196F8E04-0BDA-4EA7-9D47-57024E56AF25}" dt="2024-05-17T16:59:29.612" v="32" actId="1076"/>
            <ac:picMkLst>
              <pc:docMk/>
              <pc:sldMasterMk cId="3249716214" sldId="2147483661"/>
              <pc:sldLayoutMk cId="3750836285" sldId="2147483662"/>
              <ac:picMk id="4" creationId="{6D2464FE-0513-D7A1-FAF5-F8A889D1FCDB}"/>
            </ac:picMkLst>
          </pc:picChg>
        </pc:sldLayoutChg>
        <pc:sldLayoutChg chg="addSp modSp">
          <pc:chgData name="Luc Marcel Pellinger" userId="c88de5c9-1fa3-4a69-8bb8-d98a773f2599" providerId="ADAL" clId="{196F8E04-0BDA-4EA7-9D47-57024E56AF25}" dt="2024-05-17T16:59:34.563" v="34"/>
          <pc:sldLayoutMkLst>
            <pc:docMk/>
            <pc:sldMasterMk cId="3249716214" sldId="2147483661"/>
            <pc:sldLayoutMk cId="3242066465" sldId="2147483663"/>
          </pc:sldLayoutMkLst>
          <pc:picChg chg="add mod">
            <ac:chgData name="Luc Marcel Pellinger" userId="c88de5c9-1fa3-4a69-8bb8-d98a773f2599" providerId="ADAL" clId="{196F8E04-0BDA-4EA7-9D47-57024E56AF25}" dt="2024-05-17T16:59:34.563" v="34"/>
            <ac:picMkLst>
              <pc:docMk/>
              <pc:sldMasterMk cId="3249716214" sldId="2147483661"/>
              <pc:sldLayoutMk cId="3242066465" sldId="2147483663"/>
              <ac:picMk id="2" creationId="{83A6CBF8-D113-29E8-6916-312611155884}"/>
            </ac:picMkLst>
          </pc:picChg>
        </pc:sldLayoutChg>
        <pc:sldLayoutChg chg="addSp modSp">
          <pc:chgData name="Luc Marcel Pellinger" userId="c88de5c9-1fa3-4a69-8bb8-d98a773f2599" providerId="ADAL" clId="{196F8E04-0BDA-4EA7-9D47-57024E56AF25}" dt="2024-05-17T16:59:37.386" v="35"/>
          <pc:sldLayoutMkLst>
            <pc:docMk/>
            <pc:sldMasterMk cId="3249716214" sldId="2147483661"/>
            <pc:sldLayoutMk cId="1623443730" sldId="2147483666"/>
          </pc:sldLayoutMkLst>
          <pc:picChg chg="add mod">
            <ac:chgData name="Luc Marcel Pellinger" userId="c88de5c9-1fa3-4a69-8bb8-d98a773f2599" providerId="ADAL" clId="{196F8E04-0BDA-4EA7-9D47-57024E56AF25}" dt="2024-05-17T16:59:37.386" v="35"/>
            <ac:picMkLst>
              <pc:docMk/>
              <pc:sldMasterMk cId="3249716214" sldId="2147483661"/>
              <pc:sldLayoutMk cId="1623443730" sldId="2147483666"/>
              <ac:picMk id="2" creationId="{B3CFBE2D-C3F0-DD75-DD01-FFC44A000681}"/>
            </ac:picMkLst>
          </pc:picChg>
        </pc:sldLayoutChg>
        <pc:sldLayoutChg chg="addSp modSp">
          <pc:chgData name="Luc Marcel Pellinger" userId="c88de5c9-1fa3-4a69-8bb8-d98a773f2599" providerId="ADAL" clId="{196F8E04-0BDA-4EA7-9D47-57024E56AF25}" dt="2024-05-17T16:59:32.745" v="33"/>
          <pc:sldLayoutMkLst>
            <pc:docMk/>
            <pc:sldMasterMk cId="3249716214" sldId="2147483661"/>
            <pc:sldLayoutMk cId="1218439316" sldId="2147483667"/>
          </pc:sldLayoutMkLst>
          <pc:picChg chg="add mod">
            <ac:chgData name="Luc Marcel Pellinger" userId="c88de5c9-1fa3-4a69-8bb8-d98a773f2599" providerId="ADAL" clId="{196F8E04-0BDA-4EA7-9D47-57024E56AF25}" dt="2024-05-17T16:59:32.745" v="33"/>
            <ac:picMkLst>
              <pc:docMk/>
              <pc:sldMasterMk cId="3249716214" sldId="2147483661"/>
              <pc:sldLayoutMk cId="1218439316" sldId="2147483667"/>
              <ac:picMk id="4" creationId="{F994C3B2-4831-B96D-517D-D3E7B28ECDBC}"/>
            </ac:picMkLst>
          </pc:picChg>
        </pc:sldLayoutChg>
      </pc:sldMasterChg>
    </pc:docChg>
  </pc:docChgLst>
  <pc:docChgLst>
    <pc:chgData name="Zeno Eule" userId="S::59093@novasbe.pt::2181db0d-9eef-459a-8936-2b35df8d15f4" providerId="AD" clId="Web-{AC95E1BC-3957-D3DE-78FE-DF0A20F58CE2}"/>
    <pc:docChg chg="mod">
      <pc:chgData name="Zeno Eule" userId="S::59093@novasbe.pt::2181db0d-9eef-459a-8936-2b35df8d15f4" providerId="AD" clId="Web-{AC95E1BC-3957-D3DE-78FE-DF0A20F58CE2}" dt="2024-05-14T12:23:37.201" v="1"/>
      <pc:docMkLst>
        <pc:docMk/>
      </pc:docMkLst>
      <pc:sldChg chg="modCm">
        <pc:chgData name="Zeno Eule" userId="S::59093@novasbe.pt::2181db0d-9eef-459a-8936-2b35df8d15f4" providerId="AD" clId="Web-{AC95E1BC-3957-D3DE-78FE-DF0A20F58CE2}" dt="2024-05-14T12:23:37.201" v="1"/>
        <pc:sldMkLst>
          <pc:docMk/>
          <pc:sldMk cId="127659681" sldId="306"/>
        </pc:sldMkLst>
        <pc:extLst>
          <p:ext xmlns:p="http://schemas.openxmlformats.org/presentationml/2006/main" uri="{D6D511B9-2390-475A-947B-AFAB55BFBCF1}">
            <pc226:cmChg xmlns:pc226="http://schemas.microsoft.com/office/powerpoint/2022/06/main/command" chg="">
              <pc226:chgData name="Zeno Eule" userId="S::59093@novasbe.pt::2181db0d-9eef-459a-8936-2b35df8d15f4" providerId="AD" clId="Web-{AC95E1BC-3957-D3DE-78FE-DF0A20F58CE2}" dt="2024-05-14T12:23:37.201" v="1"/>
              <pc2:cmMkLst xmlns:pc2="http://schemas.microsoft.com/office/powerpoint/2019/9/main/command">
                <pc:docMk/>
                <pc:sldMk cId="127659681" sldId="306"/>
                <pc2:cmMk id="{DEC7E840-4C69-45F9-973F-90E2E9EC199D}"/>
              </pc2:cmMkLst>
              <pc226:cmRplyChg chg="add">
                <pc226:chgData name="Zeno Eule" userId="S::59093@novasbe.pt::2181db0d-9eef-459a-8936-2b35df8d15f4" providerId="AD" clId="Web-{AC95E1BC-3957-D3DE-78FE-DF0A20F58CE2}" dt="2024-05-14T12:23:37.201" v="1"/>
                <pc2:cmRplyMkLst xmlns:pc2="http://schemas.microsoft.com/office/powerpoint/2019/9/main/command">
                  <pc:docMk/>
                  <pc:sldMk cId="127659681" sldId="306"/>
                  <pc2:cmMk id="{DEC7E840-4C69-45F9-973F-90E2E9EC199D}"/>
                  <pc2:cmRplyMk id="{05040F3B-A250-4441-9C72-6B76F4CCBEE3}"/>
                </pc2:cmRplyMkLst>
              </pc226:cmRplyChg>
            </pc226:cmChg>
          </p:ext>
        </pc:extLst>
      </pc:sldChg>
    </pc:docChg>
  </pc:docChgLst>
  <pc:docChgLst>
    <pc:chgData name="Moritz Lind" userId="S::61230@novasbe.pt::3c46de29-e3d8-46a3-bade-23b6b6ccc123" providerId="AD" clId="Web-{4240B496-9815-66EE-B3C5-9DDCD249563E}"/>
    <pc:docChg chg="addSld delSld modSld sldOrd">
      <pc:chgData name="Moritz Lind" userId="S::61230@novasbe.pt::3c46de29-e3d8-46a3-bade-23b6b6ccc123" providerId="AD" clId="Web-{4240B496-9815-66EE-B3C5-9DDCD249563E}" dt="2024-05-16T16:27:48.321" v="3595" actId="1076"/>
      <pc:docMkLst>
        <pc:docMk/>
      </pc:docMkLst>
      <pc:sldChg chg="addSp">
        <pc:chgData name="Moritz Lind" userId="S::61230@novasbe.pt::3c46de29-e3d8-46a3-bade-23b6b6ccc123" providerId="AD" clId="Web-{4240B496-9815-66EE-B3C5-9DDCD249563E}" dt="2024-05-16T15:38:46.315" v="2337"/>
        <pc:sldMkLst>
          <pc:docMk/>
          <pc:sldMk cId="3250682429" sldId="310"/>
        </pc:sldMkLst>
        <pc:spChg chg="add">
          <ac:chgData name="Moritz Lind" userId="S::61230@novasbe.pt::3c46de29-e3d8-46a3-bade-23b6b6ccc123" providerId="AD" clId="Web-{4240B496-9815-66EE-B3C5-9DDCD249563E}" dt="2024-05-16T15:38:46.315" v="2337"/>
          <ac:spMkLst>
            <pc:docMk/>
            <pc:sldMk cId="3250682429" sldId="310"/>
            <ac:spMk id="5" creationId="{A14697F0-7652-2230-EEF7-6D93A4AE9FCB}"/>
          </ac:spMkLst>
        </pc:spChg>
      </pc:sldChg>
      <pc:sldChg chg="addSp modSp">
        <pc:chgData name="Moritz Lind" userId="S::61230@novasbe.pt::3c46de29-e3d8-46a3-bade-23b6b6ccc123" providerId="AD" clId="Web-{4240B496-9815-66EE-B3C5-9DDCD249563E}" dt="2024-05-16T09:22:17.154" v="326" actId="20577"/>
        <pc:sldMkLst>
          <pc:docMk/>
          <pc:sldMk cId="604316788" sldId="314"/>
        </pc:sldMkLst>
        <pc:spChg chg="add mod">
          <ac:chgData name="Moritz Lind" userId="S::61230@novasbe.pt::3c46de29-e3d8-46a3-bade-23b6b6ccc123" providerId="AD" clId="Web-{4240B496-9815-66EE-B3C5-9DDCD249563E}" dt="2024-05-16T09:22:17.154" v="326" actId="20577"/>
          <ac:spMkLst>
            <pc:docMk/>
            <pc:sldMk cId="604316788" sldId="314"/>
            <ac:spMk id="5" creationId="{F706001E-44D1-F7B4-1683-4DC11DD8C048}"/>
          </ac:spMkLst>
        </pc:spChg>
      </pc:sldChg>
      <pc:sldChg chg="addSp modSp">
        <pc:chgData name="Moritz Lind" userId="S::61230@novasbe.pt::3c46de29-e3d8-46a3-bade-23b6b6ccc123" providerId="AD" clId="Web-{4240B496-9815-66EE-B3C5-9DDCD249563E}" dt="2024-05-16T14:59:54.301" v="1489"/>
        <pc:sldMkLst>
          <pc:docMk/>
          <pc:sldMk cId="378897943" sldId="315"/>
        </pc:sldMkLst>
        <pc:spChg chg="add mod">
          <ac:chgData name="Moritz Lind" userId="S::61230@novasbe.pt::3c46de29-e3d8-46a3-bade-23b6b6ccc123" providerId="AD" clId="Web-{4240B496-9815-66EE-B3C5-9DDCD249563E}" dt="2024-05-16T14:59:54.301" v="1489"/>
          <ac:spMkLst>
            <pc:docMk/>
            <pc:sldMk cId="378897943" sldId="315"/>
            <ac:spMk id="4" creationId="{2221E8A4-3477-0E3B-79A7-91339AAC3C96}"/>
          </ac:spMkLst>
        </pc:spChg>
      </pc:sldChg>
      <pc:sldChg chg="addSp modSp">
        <pc:chgData name="Moritz Lind" userId="S::61230@novasbe.pt::3c46de29-e3d8-46a3-bade-23b6b6ccc123" providerId="AD" clId="Web-{4240B496-9815-66EE-B3C5-9DDCD249563E}" dt="2024-05-16T15:45:35.456" v="2477" actId="1076"/>
        <pc:sldMkLst>
          <pc:docMk/>
          <pc:sldMk cId="4162219401" sldId="316"/>
        </pc:sldMkLst>
        <pc:spChg chg="add mod">
          <ac:chgData name="Moritz Lind" userId="S::61230@novasbe.pt::3c46de29-e3d8-46a3-bade-23b6b6ccc123" providerId="AD" clId="Web-{4240B496-9815-66EE-B3C5-9DDCD249563E}" dt="2024-05-16T15:45:35.456" v="2477" actId="1076"/>
          <ac:spMkLst>
            <pc:docMk/>
            <pc:sldMk cId="4162219401" sldId="316"/>
            <ac:spMk id="13" creationId="{77A546EE-E40F-0D27-7F05-D1F998C29AD3}"/>
          </ac:spMkLst>
        </pc:spChg>
      </pc:sldChg>
      <pc:sldChg chg="addSp delSp modSp add del replId">
        <pc:chgData name="Moritz Lind" userId="S::61230@novasbe.pt::3c46de29-e3d8-46a3-bade-23b6b6ccc123" providerId="AD" clId="Web-{4240B496-9815-66EE-B3C5-9DDCD249563E}" dt="2024-05-16T10:06:33.415" v="867"/>
        <pc:sldMkLst>
          <pc:docMk/>
          <pc:sldMk cId="1822008719" sldId="318"/>
        </pc:sldMkLst>
        <pc:spChg chg="mod">
          <ac:chgData name="Moritz Lind" userId="S::61230@novasbe.pt::3c46de29-e3d8-46a3-bade-23b6b6ccc123" providerId="AD" clId="Web-{4240B496-9815-66EE-B3C5-9DDCD249563E}" dt="2024-05-16T09:42:04.687" v="430" actId="20577"/>
          <ac:spMkLst>
            <pc:docMk/>
            <pc:sldMk cId="1822008719" sldId="318"/>
            <ac:spMk id="2" creationId="{F7857DC1-B240-2014-FF35-005F90715DFD}"/>
          </ac:spMkLst>
        </pc:spChg>
        <pc:spChg chg="mod">
          <ac:chgData name="Moritz Lind" userId="S::61230@novasbe.pt::3c46de29-e3d8-46a3-bade-23b6b6ccc123" providerId="AD" clId="Web-{4240B496-9815-66EE-B3C5-9DDCD249563E}" dt="2024-05-16T09:43:20.673" v="475" actId="20577"/>
          <ac:spMkLst>
            <pc:docMk/>
            <pc:sldMk cId="1822008719" sldId="318"/>
            <ac:spMk id="3" creationId="{281105C5-44E1-6128-D52F-2586EB705ADC}"/>
          </ac:spMkLst>
        </pc:spChg>
        <pc:spChg chg="add mod">
          <ac:chgData name="Moritz Lind" userId="S::61230@novasbe.pt::3c46de29-e3d8-46a3-bade-23b6b6ccc123" providerId="AD" clId="Web-{4240B496-9815-66EE-B3C5-9DDCD249563E}" dt="2024-05-16T09:52:44.955" v="576" actId="1076"/>
          <ac:spMkLst>
            <pc:docMk/>
            <pc:sldMk cId="1822008719" sldId="318"/>
            <ac:spMk id="13" creationId="{9752CDDC-DD34-C703-D12A-596F8CA0B071}"/>
          </ac:spMkLst>
        </pc:spChg>
        <pc:spChg chg="add mod">
          <ac:chgData name="Moritz Lind" userId="S::61230@novasbe.pt::3c46de29-e3d8-46a3-bade-23b6b6ccc123" providerId="AD" clId="Web-{4240B496-9815-66EE-B3C5-9DDCD249563E}" dt="2024-05-16T09:51:02.530" v="522" actId="1076"/>
          <ac:spMkLst>
            <pc:docMk/>
            <pc:sldMk cId="1822008719" sldId="318"/>
            <ac:spMk id="25" creationId="{AF50A492-B016-E8BE-92C2-E5C7EC0C2F59}"/>
          </ac:spMkLst>
        </pc:spChg>
        <pc:spChg chg="add mod">
          <ac:chgData name="Moritz Lind" userId="S::61230@novasbe.pt::3c46de29-e3d8-46a3-bade-23b6b6ccc123" providerId="AD" clId="Web-{4240B496-9815-66EE-B3C5-9DDCD249563E}" dt="2024-05-16T09:51:26.968" v="526" actId="1076"/>
          <ac:spMkLst>
            <pc:docMk/>
            <pc:sldMk cId="1822008719" sldId="318"/>
            <ac:spMk id="26" creationId="{CBA1AAD0-6D7B-083C-8A3C-4D9FC143648D}"/>
          </ac:spMkLst>
        </pc:spChg>
        <pc:spChg chg="add mod">
          <ac:chgData name="Moritz Lind" userId="S::61230@novasbe.pt::3c46de29-e3d8-46a3-bade-23b6b6ccc123" providerId="AD" clId="Web-{4240B496-9815-66EE-B3C5-9DDCD249563E}" dt="2024-05-16T09:52:19.641" v="569" actId="1076"/>
          <ac:spMkLst>
            <pc:docMk/>
            <pc:sldMk cId="1822008719" sldId="318"/>
            <ac:spMk id="27" creationId="{66422EEA-92A2-AAE8-92E0-9AF24BC0FCBC}"/>
          </ac:spMkLst>
        </pc:spChg>
        <pc:spChg chg="add mod">
          <ac:chgData name="Moritz Lind" userId="S::61230@novasbe.pt::3c46de29-e3d8-46a3-bade-23b6b6ccc123" providerId="AD" clId="Web-{4240B496-9815-66EE-B3C5-9DDCD249563E}" dt="2024-05-16T09:52:41.798" v="573" actId="1076"/>
          <ac:spMkLst>
            <pc:docMk/>
            <pc:sldMk cId="1822008719" sldId="318"/>
            <ac:spMk id="28" creationId="{4AAA4E85-0F92-1C8E-A8D9-E229FF14AF51}"/>
          </ac:spMkLst>
        </pc:spChg>
        <pc:spChg chg="add mod">
          <ac:chgData name="Moritz Lind" userId="S::61230@novasbe.pt::3c46de29-e3d8-46a3-bade-23b6b6ccc123" providerId="AD" clId="Web-{4240B496-9815-66EE-B3C5-9DDCD249563E}" dt="2024-05-16T09:54:23.176" v="667" actId="20577"/>
          <ac:spMkLst>
            <pc:docMk/>
            <pc:sldMk cId="1822008719" sldId="318"/>
            <ac:spMk id="29" creationId="{7108B188-BE1D-4E7E-C7B4-5C45F5300EB8}"/>
          </ac:spMkLst>
        </pc:spChg>
        <pc:spChg chg="add mod">
          <ac:chgData name="Moritz Lind" userId="S::61230@novasbe.pt::3c46de29-e3d8-46a3-bade-23b6b6ccc123" providerId="AD" clId="Web-{4240B496-9815-66EE-B3C5-9DDCD249563E}" dt="2024-05-16T09:53:00.533" v="595" actId="20577"/>
          <ac:spMkLst>
            <pc:docMk/>
            <pc:sldMk cId="1822008719" sldId="318"/>
            <ac:spMk id="30" creationId="{944B4545-12FA-10DB-42DE-94D32CAB6D21}"/>
          </ac:spMkLst>
        </pc:spChg>
        <pc:spChg chg="add mod">
          <ac:chgData name="Moritz Lind" userId="S::61230@novasbe.pt::3c46de29-e3d8-46a3-bade-23b6b6ccc123" providerId="AD" clId="Web-{4240B496-9815-66EE-B3C5-9DDCD249563E}" dt="2024-05-16T09:54:08.051" v="657" actId="20577"/>
          <ac:spMkLst>
            <pc:docMk/>
            <pc:sldMk cId="1822008719" sldId="318"/>
            <ac:spMk id="31" creationId="{BF36CCF0-CC6B-3BDE-F23D-A5979DDC9B79}"/>
          </ac:spMkLst>
        </pc:spChg>
        <pc:spChg chg="add">
          <ac:chgData name="Moritz Lind" userId="S::61230@novasbe.pt::3c46de29-e3d8-46a3-bade-23b6b6ccc123" providerId="AD" clId="Web-{4240B496-9815-66EE-B3C5-9DDCD249563E}" dt="2024-05-16T09:53:58.144" v="634"/>
          <ac:spMkLst>
            <pc:docMk/>
            <pc:sldMk cId="1822008719" sldId="318"/>
            <ac:spMk id="32" creationId="{2112F1D8-3F5B-EAA4-EDB8-02817D7813AD}"/>
          </ac:spMkLst>
        </pc:spChg>
        <pc:spChg chg="add">
          <ac:chgData name="Moritz Lind" userId="S::61230@novasbe.pt::3c46de29-e3d8-46a3-bade-23b6b6ccc123" providerId="AD" clId="Web-{4240B496-9815-66EE-B3C5-9DDCD249563E}" dt="2024-05-16T09:53:58.222" v="635"/>
          <ac:spMkLst>
            <pc:docMk/>
            <pc:sldMk cId="1822008719" sldId="318"/>
            <ac:spMk id="33" creationId="{C62E3ECD-E56C-A9A6-BC63-BE44E5A3AFC9}"/>
          </ac:spMkLst>
        </pc:spChg>
        <pc:spChg chg="add">
          <ac:chgData name="Moritz Lind" userId="S::61230@novasbe.pt::3c46de29-e3d8-46a3-bade-23b6b6ccc123" providerId="AD" clId="Web-{4240B496-9815-66EE-B3C5-9DDCD249563E}" dt="2024-05-16T09:53:58.316" v="636"/>
          <ac:spMkLst>
            <pc:docMk/>
            <pc:sldMk cId="1822008719" sldId="318"/>
            <ac:spMk id="34" creationId="{82E5B495-8523-7404-5EEE-29492246B203}"/>
          </ac:spMkLst>
        </pc:spChg>
        <pc:spChg chg="add">
          <ac:chgData name="Moritz Lind" userId="S::61230@novasbe.pt::3c46de29-e3d8-46a3-bade-23b6b6ccc123" providerId="AD" clId="Web-{4240B496-9815-66EE-B3C5-9DDCD249563E}" dt="2024-05-16T09:53:58.472" v="637"/>
          <ac:spMkLst>
            <pc:docMk/>
            <pc:sldMk cId="1822008719" sldId="318"/>
            <ac:spMk id="35" creationId="{FA8F21CC-2B01-A988-2393-B7AFDC8A0AFB}"/>
          </ac:spMkLst>
        </pc:spChg>
        <pc:spChg chg="add mod">
          <ac:chgData name="Moritz Lind" userId="S::61230@novasbe.pt::3c46de29-e3d8-46a3-bade-23b6b6ccc123" providerId="AD" clId="Web-{4240B496-9815-66EE-B3C5-9DDCD249563E}" dt="2024-05-16T09:55:39.663" v="669" actId="1076"/>
          <ac:spMkLst>
            <pc:docMk/>
            <pc:sldMk cId="1822008719" sldId="318"/>
            <ac:spMk id="38" creationId="{E3AA7216-045C-29FA-5CCC-F715393666F8}"/>
          </ac:spMkLst>
        </pc:spChg>
        <pc:spChg chg="add mod">
          <ac:chgData name="Moritz Lind" userId="S::61230@novasbe.pt::3c46de29-e3d8-46a3-bade-23b6b6ccc123" providerId="AD" clId="Web-{4240B496-9815-66EE-B3C5-9DDCD249563E}" dt="2024-05-16T09:55:45.678" v="673"/>
          <ac:spMkLst>
            <pc:docMk/>
            <pc:sldMk cId="1822008719" sldId="318"/>
            <ac:spMk id="45" creationId="{DED615AE-506A-D551-6E9C-3FE21CB2CD21}"/>
          </ac:spMkLst>
        </pc:spChg>
        <pc:spChg chg="add del mod">
          <ac:chgData name="Moritz Lind" userId="S::61230@novasbe.pt::3c46de29-e3d8-46a3-bade-23b6b6ccc123" providerId="AD" clId="Web-{4240B496-9815-66EE-B3C5-9DDCD249563E}" dt="2024-05-16T09:55:51.194" v="676"/>
          <ac:spMkLst>
            <pc:docMk/>
            <pc:sldMk cId="1822008719" sldId="318"/>
            <ac:spMk id="46" creationId="{019B5BCC-FAF4-0336-478D-347663CF54A0}"/>
          </ac:spMkLst>
        </pc:spChg>
        <pc:spChg chg="add mod">
          <ac:chgData name="Moritz Lind" userId="S::61230@novasbe.pt::3c46de29-e3d8-46a3-bade-23b6b6ccc123" providerId="AD" clId="Web-{4240B496-9815-66EE-B3C5-9DDCD249563E}" dt="2024-05-16T09:55:55.397" v="678" actId="1076"/>
          <ac:spMkLst>
            <pc:docMk/>
            <pc:sldMk cId="1822008719" sldId="318"/>
            <ac:spMk id="48" creationId="{555C60C6-3CDE-8906-2EF3-0CDB3CEC03E0}"/>
          </ac:spMkLst>
        </pc:spChg>
        <pc:grpChg chg="del">
          <ac:chgData name="Moritz Lind" userId="S::61230@novasbe.pt::3c46de29-e3d8-46a3-bade-23b6b6ccc123" providerId="AD" clId="Web-{4240B496-9815-66EE-B3C5-9DDCD249563E}" dt="2024-05-16T09:17:21.942" v="37"/>
          <ac:grpSpMkLst>
            <pc:docMk/>
            <pc:sldMk cId="1822008719" sldId="318"/>
            <ac:grpSpMk id="11" creationId="{DF1C8BCF-D009-DBD8-D1D0-D4263C603994}"/>
          </ac:grpSpMkLst>
        </pc:grpChg>
        <pc:grpChg chg="del">
          <ac:chgData name="Moritz Lind" userId="S::61230@novasbe.pt::3c46de29-e3d8-46a3-bade-23b6b6ccc123" providerId="AD" clId="Web-{4240B496-9815-66EE-B3C5-9DDCD249563E}" dt="2024-05-16T09:17:21.942" v="36"/>
          <ac:grpSpMkLst>
            <pc:docMk/>
            <pc:sldMk cId="1822008719" sldId="318"/>
            <ac:grpSpMk id="12" creationId="{2CB8CDDB-CC04-79E2-7122-0783D4AC8C68}"/>
          </ac:grpSpMkLst>
        </pc:grpChg>
        <pc:grpChg chg="del">
          <ac:chgData name="Moritz Lind" userId="S::61230@novasbe.pt::3c46de29-e3d8-46a3-bade-23b6b6ccc123" providerId="AD" clId="Web-{4240B496-9815-66EE-B3C5-9DDCD249563E}" dt="2024-05-16T09:17:21.942" v="33"/>
          <ac:grpSpMkLst>
            <pc:docMk/>
            <pc:sldMk cId="1822008719" sldId="318"/>
            <ac:grpSpMk id="22" creationId="{F78614D2-C2AA-306B-487C-A6758B75D82D}"/>
          </ac:grpSpMkLst>
        </pc:grpChg>
        <pc:grpChg chg="del">
          <ac:chgData name="Moritz Lind" userId="S::61230@novasbe.pt::3c46de29-e3d8-46a3-bade-23b6b6ccc123" providerId="AD" clId="Web-{4240B496-9815-66EE-B3C5-9DDCD249563E}" dt="2024-05-16T09:17:21.942" v="34"/>
          <ac:grpSpMkLst>
            <pc:docMk/>
            <pc:sldMk cId="1822008719" sldId="318"/>
            <ac:grpSpMk id="23" creationId="{ADC41A65-2E43-DB50-AB9F-CA5FBC39E515}"/>
          </ac:grpSpMkLst>
        </pc:grpChg>
        <pc:grpChg chg="del">
          <ac:chgData name="Moritz Lind" userId="S::61230@novasbe.pt::3c46de29-e3d8-46a3-bade-23b6b6ccc123" providerId="AD" clId="Web-{4240B496-9815-66EE-B3C5-9DDCD249563E}" dt="2024-05-16T09:17:21.942" v="35"/>
          <ac:grpSpMkLst>
            <pc:docMk/>
            <pc:sldMk cId="1822008719" sldId="318"/>
            <ac:grpSpMk id="24" creationId="{0464FCC6-16E9-ADD9-A0C1-E986467D1A57}"/>
          </ac:grpSpMkLst>
        </pc:grpChg>
        <pc:grpChg chg="del">
          <ac:chgData name="Moritz Lind" userId="S::61230@novasbe.pt::3c46de29-e3d8-46a3-bade-23b6b6ccc123" providerId="AD" clId="Web-{4240B496-9815-66EE-B3C5-9DDCD249563E}" dt="2024-05-16T09:17:21.942" v="32"/>
          <ac:grpSpMkLst>
            <pc:docMk/>
            <pc:sldMk cId="1822008719" sldId="318"/>
            <ac:grpSpMk id="36" creationId="{40FBE062-BCD2-323D-6BE2-DBEA253D5A15}"/>
          </ac:grpSpMkLst>
        </pc:grpChg>
        <pc:grpChg chg="del">
          <ac:chgData name="Moritz Lind" userId="S::61230@novasbe.pt::3c46de29-e3d8-46a3-bade-23b6b6ccc123" providerId="AD" clId="Web-{4240B496-9815-66EE-B3C5-9DDCD249563E}" dt="2024-05-16T09:17:21.942" v="31"/>
          <ac:grpSpMkLst>
            <pc:docMk/>
            <pc:sldMk cId="1822008719" sldId="318"/>
            <ac:grpSpMk id="40" creationId="{A5455AB3-F945-449B-E4C3-84348A15AF33}"/>
          </ac:grpSpMkLst>
        </pc:grpChg>
        <pc:grpChg chg="del">
          <ac:chgData name="Moritz Lind" userId="S::61230@novasbe.pt::3c46de29-e3d8-46a3-bade-23b6b6ccc123" providerId="AD" clId="Web-{4240B496-9815-66EE-B3C5-9DDCD249563E}" dt="2024-05-16T09:17:21.942" v="30"/>
          <ac:grpSpMkLst>
            <pc:docMk/>
            <pc:sldMk cId="1822008719" sldId="318"/>
            <ac:grpSpMk id="43" creationId="{0F4DEDA9-4AB7-486B-6027-566CFD7AC242}"/>
          </ac:grpSpMkLst>
        </pc:grpChg>
        <pc:cxnChg chg="add del mod">
          <ac:chgData name="Moritz Lind" userId="S::61230@novasbe.pt::3c46de29-e3d8-46a3-bade-23b6b6ccc123" providerId="AD" clId="Web-{4240B496-9815-66EE-B3C5-9DDCD249563E}" dt="2024-05-16T09:44:39.816" v="483"/>
          <ac:cxnSpMkLst>
            <pc:docMk/>
            <pc:sldMk cId="1822008719" sldId="318"/>
            <ac:cxnSpMk id="15" creationId="{F4FC6938-8C94-79E8-590B-3BCA1335CDC7}"/>
          </ac:cxnSpMkLst>
        </pc:cxnChg>
        <pc:cxnChg chg="add mod">
          <ac:chgData name="Moritz Lind" userId="S::61230@novasbe.pt::3c46de29-e3d8-46a3-bade-23b6b6ccc123" providerId="AD" clId="Web-{4240B496-9815-66EE-B3C5-9DDCD249563E}" dt="2024-05-16T09:51:02.514" v="521" actId="1076"/>
          <ac:cxnSpMkLst>
            <pc:docMk/>
            <pc:sldMk cId="1822008719" sldId="318"/>
            <ac:cxnSpMk id="17" creationId="{2CE114BF-D485-E462-557F-A8A406880477}"/>
          </ac:cxnSpMkLst>
        </pc:cxnChg>
      </pc:sldChg>
      <pc:sldChg chg="addSp delSp modSp add replId">
        <pc:chgData name="Moritz Lind" userId="S::61230@novasbe.pt::3c46de29-e3d8-46a3-bade-23b6b6ccc123" providerId="AD" clId="Web-{4240B496-9815-66EE-B3C5-9DDCD249563E}" dt="2024-05-16T09:22:58.092" v="365" actId="20577"/>
        <pc:sldMkLst>
          <pc:docMk/>
          <pc:sldMk cId="2883737098" sldId="319"/>
        </pc:sldMkLst>
        <pc:spChg chg="mod">
          <ac:chgData name="Moritz Lind" userId="S::61230@novasbe.pt::3c46de29-e3d8-46a3-bade-23b6b6ccc123" providerId="AD" clId="Web-{4240B496-9815-66EE-B3C5-9DDCD249563E}" dt="2024-05-16T09:20:34.541" v="234" actId="20577"/>
          <ac:spMkLst>
            <pc:docMk/>
            <pc:sldMk cId="2883737098" sldId="319"/>
            <ac:spMk id="3" creationId="{281105C5-44E1-6128-D52F-2586EB705ADC}"/>
          </ac:spMkLst>
        </pc:spChg>
        <pc:spChg chg="add mod">
          <ac:chgData name="Moritz Lind" userId="S::61230@novasbe.pt::3c46de29-e3d8-46a3-bade-23b6b6ccc123" providerId="AD" clId="Web-{4240B496-9815-66EE-B3C5-9DDCD249563E}" dt="2024-05-16T09:22:58.092" v="365" actId="20577"/>
          <ac:spMkLst>
            <pc:docMk/>
            <pc:sldMk cId="2883737098" sldId="319"/>
            <ac:spMk id="13" creationId="{7349626C-BE97-D166-0306-5101416DCF5D}"/>
          </ac:spMkLst>
        </pc:spChg>
        <pc:grpChg chg="del">
          <ac:chgData name="Moritz Lind" userId="S::61230@novasbe.pt::3c46de29-e3d8-46a3-bade-23b6b6ccc123" providerId="AD" clId="Web-{4240B496-9815-66EE-B3C5-9DDCD249563E}" dt="2024-05-16T09:17:17.145" v="22"/>
          <ac:grpSpMkLst>
            <pc:docMk/>
            <pc:sldMk cId="2883737098" sldId="319"/>
            <ac:grpSpMk id="11" creationId="{DF1C8BCF-D009-DBD8-D1D0-D4263C603994}"/>
          </ac:grpSpMkLst>
        </pc:grpChg>
        <pc:grpChg chg="del">
          <ac:chgData name="Moritz Lind" userId="S::61230@novasbe.pt::3c46de29-e3d8-46a3-bade-23b6b6ccc123" providerId="AD" clId="Web-{4240B496-9815-66EE-B3C5-9DDCD249563E}" dt="2024-05-16T09:17:17.864" v="23"/>
          <ac:grpSpMkLst>
            <pc:docMk/>
            <pc:sldMk cId="2883737098" sldId="319"/>
            <ac:grpSpMk id="12" creationId="{2CB8CDDB-CC04-79E2-7122-0783D4AC8C68}"/>
          </ac:grpSpMkLst>
        </pc:grpChg>
        <pc:grpChg chg="del">
          <ac:chgData name="Moritz Lind" userId="S::61230@novasbe.pt::3c46de29-e3d8-46a3-bade-23b6b6ccc123" providerId="AD" clId="Web-{4240B496-9815-66EE-B3C5-9DDCD249563E}" dt="2024-05-16T09:17:19.427" v="27"/>
          <ac:grpSpMkLst>
            <pc:docMk/>
            <pc:sldMk cId="2883737098" sldId="319"/>
            <ac:grpSpMk id="22" creationId="{F78614D2-C2AA-306B-487C-A6758B75D82D}"/>
          </ac:grpSpMkLst>
        </pc:grpChg>
        <pc:grpChg chg="del">
          <ac:chgData name="Moritz Lind" userId="S::61230@novasbe.pt::3c46de29-e3d8-46a3-bade-23b6b6ccc123" providerId="AD" clId="Web-{4240B496-9815-66EE-B3C5-9DDCD249563E}" dt="2024-05-16T09:17:19.427" v="28"/>
          <ac:grpSpMkLst>
            <pc:docMk/>
            <pc:sldMk cId="2883737098" sldId="319"/>
            <ac:grpSpMk id="23" creationId="{ADC41A65-2E43-DB50-AB9F-CA5FBC39E515}"/>
          </ac:grpSpMkLst>
        </pc:grpChg>
        <pc:grpChg chg="del">
          <ac:chgData name="Moritz Lind" userId="S::61230@novasbe.pt::3c46de29-e3d8-46a3-bade-23b6b6ccc123" providerId="AD" clId="Web-{4240B496-9815-66EE-B3C5-9DDCD249563E}" dt="2024-05-16T09:17:19.427" v="29"/>
          <ac:grpSpMkLst>
            <pc:docMk/>
            <pc:sldMk cId="2883737098" sldId="319"/>
            <ac:grpSpMk id="24" creationId="{0464FCC6-16E9-ADD9-A0C1-E986467D1A57}"/>
          </ac:grpSpMkLst>
        </pc:grpChg>
        <pc:grpChg chg="del">
          <ac:chgData name="Moritz Lind" userId="S::61230@novasbe.pt::3c46de29-e3d8-46a3-bade-23b6b6ccc123" providerId="AD" clId="Web-{4240B496-9815-66EE-B3C5-9DDCD249563E}" dt="2024-05-16T09:17:19.427" v="26"/>
          <ac:grpSpMkLst>
            <pc:docMk/>
            <pc:sldMk cId="2883737098" sldId="319"/>
            <ac:grpSpMk id="36" creationId="{40FBE062-BCD2-323D-6BE2-DBEA253D5A15}"/>
          </ac:grpSpMkLst>
        </pc:grpChg>
        <pc:grpChg chg="del">
          <ac:chgData name="Moritz Lind" userId="S::61230@novasbe.pt::3c46de29-e3d8-46a3-bade-23b6b6ccc123" providerId="AD" clId="Web-{4240B496-9815-66EE-B3C5-9DDCD249563E}" dt="2024-05-16T09:17:19.427" v="25"/>
          <ac:grpSpMkLst>
            <pc:docMk/>
            <pc:sldMk cId="2883737098" sldId="319"/>
            <ac:grpSpMk id="40" creationId="{A5455AB3-F945-449B-E4C3-84348A15AF33}"/>
          </ac:grpSpMkLst>
        </pc:grpChg>
        <pc:grpChg chg="del">
          <ac:chgData name="Moritz Lind" userId="S::61230@novasbe.pt::3c46de29-e3d8-46a3-bade-23b6b6ccc123" providerId="AD" clId="Web-{4240B496-9815-66EE-B3C5-9DDCD249563E}" dt="2024-05-16T09:17:19.427" v="24"/>
          <ac:grpSpMkLst>
            <pc:docMk/>
            <pc:sldMk cId="2883737098" sldId="319"/>
            <ac:grpSpMk id="43" creationId="{0F4DEDA9-4AB7-486B-6027-566CFD7AC242}"/>
          </ac:grpSpMkLst>
        </pc:grpChg>
      </pc:sldChg>
      <pc:sldChg chg="addSp delSp modSp add replId">
        <pc:chgData name="Moritz Lind" userId="S::61230@novasbe.pt::3c46de29-e3d8-46a3-bade-23b6b6ccc123" providerId="AD" clId="Web-{4240B496-9815-66EE-B3C5-9DDCD249563E}" dt="2024-05-16T16:25:32.222" v="3483" actId="1076"/>
        <pc:sldMkLst>
          <pc:docMk/>
          <pc:sldMk cId="2805918559" sldId="320"/>
        </pc:sldMkLst>
        <pc:spChg chg="mod">
          <ac:chgData name="Moritz Lind" userId="S::61230@novasbe.pt::3c46de29-e3d8-46a3-bade-23b6b6ccc123" providerId="AD" clId="Web-{4240B496-9815-66EE-B3C5-9DDCD249563E}" dt="2024-05-16T14:43:52.138" v="1088" actId="20577"/>
          <ac:spMkLst>
            <pc:docMk/>
            <pc:sldMk cId="2805918559" sldId="320"/>
            <ac:spMk id="2" creationId="{F7857DC1-B240-2014-FF35-005F90715DFD}"/>
          </ac:spMkLst>
        </pc:spChg>
        <pc:spChg chg="mod">
          <ac:chgData name="Moritz Lind" userId="S::61230@novasbe.pt::3c46de29-e3d8-46a3-bade-23b6b6ccc123" providerId="AD" clId="Web-{4240B496-9815-66EE-B3C5-9DDCD249563E}" dt="2024-05-16T15:25:20.768" v="2271" actId="20577"/>
          <ac:spMkLst>
            <pc:docMk/>
            <pc:sldMk cId="2805918559" sldId="320"/>
            <ac:spMk id="3" creationId="{281105C5-44E1-6128-D52F-2586EB705ADC}"/>
          </ac:spMkLst>
        </pc:spChg>
        <pc:spChg chg="add del mod">
          <ac:chgData name="Moritz Lind" userId="S::61230@novasbe.pt::3c46de29-e3d8-46a3-bade-23b6b6ccc123" providerId="AD" clId="Web-{4240B496-9815-66EE-B3C5-9DDCD249563E}" dt="2024-05-16T14:45:54.783" v="1130"/>
          <ac:spMkLst>
            <pc:docMk/>
            <pc:sldMk cId="2805918559" sldId="320"/>
            <ac:spMk id="4" creationId="{029A1717-D749-9475-5E94-9E92A044E540}"/>
          </ac:spMkLst>
        </pc:spChg>
        <pc:spChg chg="add del mod">
          <ac:chgData name="Moritz Lind" userId="S::61230@novasbe.pt::3c46de29-e3d8-46a3-bade-23b6b6ccc123" providerId="AD" clId="Web-{4240B496-9815-66EE-B3C5-9DDCD249563E}" dt="2024-05-16T14:43:44.059" v="1073"/>
          <ac:spMkLst>
            <pc:docMk/>
            <pc:sldMk cId="2805918559" sldId="320"/>
            <ac:spMk id="5" creationId="{0E2DFF73-1F05-FF4C-BB94-FBDCDE393650}"/>
          </ac:spMkLst>
        </pc:spChg>
        <pc:spChg chg="add del mod">
          <ac:chgData name="Moritz Lind" userId="S::61230@novasbe.pt::3c46de29-e3d8-46a3-bade-23b6b6ccc123" providerId="AD" clId="Web-{4240B496-9815-66EE-B3C5-9DDCD249563E}" dt="2024-05-16T14:43:44.059" v="1072"/>
          <ac:spMkLst>
            <pc:docMk/>
            <pc:sldMk cId="2805918559" sldId="320"/>
            <ac:spMk id="6" creationId="{2973A21D-CE6E-F802-D2DD-243D2B669B4B}"/>
          </ac:spMkLst>
        </pc:spChg>
        <pc:spChg chg="add del mod">
          <ac:chgData name="Moritz Lind" userId="S::61230@novasbe.pt::3c46de29-e3d8-46a3-bade-23b6b6ccc123" providerId="AD" clId="Web-{4240B496-9815-66EE-B3C5-9DDCD249563E}" dt="2024-05-16T14:43:44.059" v="1071"/>
          <ac:spMkLst>
            <pc:docMk/>
            <pc:sldMk cId="2805918559" sldId="320"/>
            <ac:spMk id="7" creationId="{2ACE1E85-54FD-8CCA-6274-8C77BB951A9E}"/>
          </ac:spMkLst>
        </pc:spChg>
        <pc:spChg chg="add mod">
          <ac:chgData name="Moritz Lind" userId="S::61230@novasbe.pt::3c46de29-e3d8-46a3-bade-23b6b6ccc123" providerId="AD" clId="Web-{4240B496-9815-66EE-B3C5-9DDCD249563E}" dt="2024-05-16T16:02:11.371" v="2880" actId="1076"/>
          <ac:spMkLst>
            <pc:docMk/>
            <pc:sldMk cId="2805918559" sldId="320"/>
            <ac:spMk id="8" creationId="{F5A9AF91-93BD-80AF-27C8-919E677D2DCA}"/>
          </ac:spMkLst>
        </pc:spChg>
        <pc:spChg chg="add mod">
          <ac:chgData name="Moritz Lind" userId="S::61230@novasbe.pt::3c46de29-e3d8-46a3-bade-23b6b6ccc123" providerId="AD" clId="Web-{4240B496-9815-66EE-B3C5-9DDCD249563E}" dt="2024-05-16T16:04:25.313" v="2907" actId="1076"/>
          <ac:spMkLst>
            <pc:docMk/>
            <pc:sldMk cId="2805918559" sldId="320"/>
            <ac:spMk id="9" creationId="{02A4C795-D61B-AD3B-F20D-3F452874B8EE}"/>
          </ac:spMkLst>
        </pc:spChg>
        <pc:spChg chg="add mod">
          <ac:chgData name="Moritz Lind" userId="S::61230@novasbe.pt::3c46de29-e3d8-46a3-bade-23b6b6ccc123" providerId="AD" clId="Web-{4240B496-9815-66EE-B3C5-9DDCD249563E}" dt="2024-05-16T16:06:43.037" v="2977" actId="1076"/>
          <ac:spMkLst>
            <pc:docMk/>
            <pc:sldMk cId="2805918559" sldId="320"/>
            <ac:spMk id="10" creationId="{D7E27BC2-C248-223E-6A34-C579CDDF27E2}"/>
          </ac:spMkLst>
        </pc:spChg>
        <pc:spChg chg="add mod">
          <ac:chgData name="Moritz Lind" userId="S::61230@novasbe.pt::3c46de29-e3d8-46a3-bade-23b6b6ccc123" providerId="AD" clId="Web-{4240B496-9815-66EE-B3C5-9DDCD249563E}" dt="2024-05-16T16:06:43.053" v="2978" actId="1076"/>
          <ac:spMkLst>
            <pc:docMk/>
            <pc:sldMk cId="2805918559" sldId="320"/>
            <ac:spMk id="11" creationId="{35CE3C19-6A79-322B-8470-E2318F4F33B3}"/>
          </ac:spMkLst>
        </pc:spChg>
        <pc:spChg chg="add del mod">
          <ac:chgData name="Moritz Lind" userId="S::61230@novasbe.pt::3c46de29-e3d8-46a3-bade-23b6b6ccc123" providerId="AD" clId="Web-{4240B496-9815-66EE-B3C5-9DDCD249563E}" dt="2024-05-16T10:06:21.305" v="866"/>
          <ac:spMkLst>
            <pc:docMk/>
            <pc:sldMk cId="2805918559" sldId="320"/>
            <ac:spMk id="13" creationId="{9752CDDC-DD34-C703-D12A-596F8CA0B071}"/>
          </ac:spMkLst>
        </pc:spChg>
        <pc:spChg chg="add mod">
          <ac:chgData name="Moritz Lind" userId="S::61230@novasbe.pt::3c46de29-e3d8-46a3-bade-23b6b6ccc123" providerId="AD" clId="Web-{4240B496-9815-66EE-B3C5-9DDCD249563E}" dt="2024-05-16T16:09:08.324" v="3114" actId="20577"/>
          <ac:spMkLst>
            <pc:docMk/>
            <pc:sldMk cId="2805918559" sldId="320"/>
            <ac:spMk id="13" creationId="{B8B255FD-48C3-3A48-C630-FC13498841FE}"/>
          </ac:spMkLst>
        </pc:spChg>
        <pc:spChg chg="add del mod">
          <ac:chgData name="Moritz Lind" userId="S::61230@novasbe.pt::3c46de29-e3d8-46a3-bade-23b6b6ccc123" providerId="AD" clId="Web-{4240B496-9815-66EE-B3C5-9DDCD249563E}" dt="2024-05-16T15:59:15.442" v="2797"/>
          <ac:spMkLst>
            <pc:docMk/>
            <pc:sldMk cId="2805918559" sldId="320"/>
            <ac:spMk id="15" creationId="{37FC5A49-8C53-12CE-73A3-3AE8FF2052B3}"/>
          </ac:spMkLst>
        </pc:spChg>
        <pc:spChg chg="add mod">
          <ac:chgData name="Moritz Lind" userId="S::61230@novasbe.pt::3c46de29-e3d8-46a3-bade-23b6b6ccc123" providerId="AD" clId="Web-{4240B496-9815-66EE-B3C5-9DDCD249563E}" dt="2024-05-16T16:09:08.340" v="3115" actId="20577"/>
          <ac:spMkLst>
            <pc:docMk/>
            <pc:sldMk cId="2805918559" sldId="320"/>
            <ac:spMk id="18" creationId="{DC01F92F-A882-37D9-10C1-13DC7D05A57F}"/>
          </ac:spMkLst>
        </pc:spChg>
        <pc:spChg chg="add mod">
          <ac:chgData name="Moritz Lind" userId="S::61230@novasbe.pt::3c46de29-e3d8-46a3-bade-23b6b6ccc123" providerId="AD" clId="Web-{4240B496-9815-66EE-B3C5-9DDCD249563E}" dt="2024-05-16T16:09:08.356" v="3116" actId="20577"/>
          <ac:spMkLst>
            <pc:docMk/>
            <pc:sldMk cId="2805918559" sldId="320"/>
            <ac:spMk id="20" creationId="{4785F107-5484-4858-38B9-B3285EFF8040}"/>
          </ac:spMkLst>
        </pc:spChg>
        <pc:spChg chg="add del mod">
          <ac:chgData name="Moritz Lind" userId="S::61230@novasbe.pt::3c46de29-e3d8-46a3-bade-23b6b6ccc123" providerId="AD" clId="Web-{4240B496-9815-66EE-B3C5-9DDCD249563E}" dt="2024-05-16T14:55:21.774" v="1352"/>
          <ac:spMkLst>
            <pc:docMk/>
            <pc:sldMk cId="2805918559" sldId="320"/>
            <ac:spMk id="21" creationId="{39CFC676-C289-C3D7-58FF-1B2DE292CA92}"/>
          </ac:spMkLst>
        </pc:spChg>
        <pc:spChg chg="add del mod">
          <ac:chgData name="Moritz Lind" userId="S::61230@novasbe.pt::3c46de29-e3d8-46a3-bade-23b6b6ccc123" providerId="AD" clId="Web-{4240B496-9815-66EE-B3C5-9DDCD249563E}" dt="2024-05-16T14:55:21.774" v="1351"/>
          <ac:spMkLst>
            <pc:docMk/>
            <pc:sldMk cId="2805918559" sldId="320"/>
            <ac:spMk id="22" creationId="{488B718B-2C1E-5453-CD5C-D36F533925C1}"/>
          </ac:spMkLst>
        </pc:spChg>
        <pc:spChg chg="add del mod">
          <ac:chgData name="Moritz Lind" userId="S::61230@novasbe.pt::3c46de29-e3d8-46a3-bade-23b6b6ccc123" providerId="AD" clId="Web-{4240B496-9815-66EE-B3C5-9DDCD249563E}" dt="2024-05-16T14:55:21.774" v="1350"/>
          <ac:spMkLst>
            <pc:docMk/>
            <pc:sldMk cId="2805918559" sldId="320"/>
            <ac:spMk id="23" creationId="{ECCA8232-B1B2-AE97-12CB-2011156C0A3B}"/>
          </ac:spMkLst>
        </pc:spChg>
        <pc:spChg chg="add del mod">
          <ac:chgData name="Moritz Lind" userId="S::61230@novasbe.pt::3c46de29-e3d8-46a3-bade-23b6b6ccc123" providerId="AD" clId="Web-{4240B496-9815-66EE-B3C5-9DDCD249563E}" dt="2024-05-16T14:52:29.908" v="1318"/>
          <ac:spMkLst>
            <pc:docMk/>
            <pc:sldMk cId="2805918559" sldId="320"/>
            <ac:spMk id="24" creationId="{9C7A8FDC-CBA1-921F-1F6C-42546D697F37}"/>
          </ac:spMkLst>
        </pc:spChg>
        <pc:spChg chg="add del mod">
          <ac:chgData name="Moritz Lind" userId="S::61230@novasbe.pt::3c46de29-e3d8-46a3-bade-23b6b6ccc123" providerId="AD" clId="Web-{4240B496-9815-66EE-B3C5-9DDCD249563E}" dt="2024-05-16T16:06:43.022" v="2976" actId="1076"/>
          <ac:spMkLst>
            <pc:docMk/>
            <pc:sldMk cId="2805918559" sldId="320"/>
            <ac:spMk id="25" creationId="{AF50A492-B016-E8BE-92C2-E5C7EC0C2F59}"/>
          </ac:spMkLst>
        </pc:spChg>
        <pc:spChg chg="mod">
          <ac:chgData name="Moritz Lind" userId="S::61230@novasbe.pt::3c46de29-e3d8-46a3-bade-23b6b6ccc123" providerId="AD" clId="Web-{4240B496-9815-66EE-B3C5-9DDCD249563E}" dt="2024-05-16T16:02:11.074" v="2864" actId="1076"/>
          <ac:spMkLst>
            <pc:docMk/>
            <pc:sldMk cId="2805918559" sldId="320"/>
            <ac:spMk id="26" creationId="{CBA1AAD0-6D7B-083C-8A3C-4D9FC143648D}"/>
          </ac:spMkLst>
        </pc:spChg>
        <pc:spChg chg="del mod">
          <ac:chgData name="Moritz Lind" userId="S::61230@novasbe.pt::3c46de29-e3d8-46a3-bade-23b6b6ccc123" providerId="AD" clId="Web-{4240B496-9815-66EE-B3C5-9DDCD249563E}" dt="2024-05-16T09:59:13.934" v="705"/>
          <ac:spMkLst>
            <pc:docMk/>
            <pc:sldMk cId="2805918559" sldId="320"/>
            <ac:spMk id="27" creationId="{66422EEA-92A2-AAE8-92E0-9AF24BC0FCBC}"/>
          </ac:spMkLst>
        </pc:spChg>
        <pc:spChg chg="add del mod">
          <ac:chgData name="Moritz Lind" userId="S::61230@novasbe.pt::3c46de29-e3d8-46a3-bade-23b6b6ccc123" providerId="AD" clId="Web-{4240B496-9815-66EE-B3C5-9DDCD249563E}" dt="2024-05-16T14:53:36.302" v="1329"/>
          <ac:spMkLst>
            <pc:docMk/>
            <pc:sldMk cId="2805918559" sldId="320"/>
            <ac:spMk id="27" creationId="{F4930741-8097-37B4-2639-AF0DE1D5C171}"/>
          </ac:spMkLst>
        </pc:spChg>
        <pc:spChg chg="del mod">
          <ac:chgData name="Moritz Lind" userId="S::61230@novasbe.pt::3c46de29-e3d8-46a3-bade-23b6b6ccc123" providerId="AD" clId="Web-{4240B496-9815-66EE-B3C5-9DDCD249563E}" dt="2024-05-16T14:43:44.059" v="1079"/>
          <ac:spMkLst>
            <pc:docMk/>
            <pc:sldMk cId="2805918559" sldId="320"/>
            <ac:spMk id="28" creationId="{4AAA4E85-0F92-1C8E-A8D9-E229FF14AF51}"/>
          </ac:spMkLst>
        </pc:spChg>
        <pc:spChg chg="del mod">
          <ac:chgData name="Moritz Lind" userId="S::61230@novasbe.pt::3c46de29-e3d8-46a3-bade-23b6b6ccc123" providerId="AD" clId="Web-{4240B496-9815-66EE-B3C5-9DDCD249563E}" dt="2024-05-16T14:43:44.059" v="1078"/>
          <ac:spMkLst>
            <pc:docMk/>
            <pc:sldMk cId="2805918559" sldId="320"/>
            <ac:spMk id="29" creationId="{7108B188-BE1D-4E7E-C7B4-5C45F5300EB8}"/>
          </ac:spMkLst>
        </pc:spChg>
        <pc:spChg chg="del">
          <ac:chgData name="Moritz Lind" userId="S::61230@novasbe.pt::3c46de29-e3d8-46a3-bade-23b6b6ccc123" providerId="AD" clId="Web-{4240B496-9815-66EE-B3C5-9DDCD249563E}" dt="2024-05-16T09:58:37.824" v="691"/>
          <ac:spMkLst>
            <pc:docMk/>
            <pc:sldMk cId="2805918559" sldId="320"/>
            <ac:spMk id="30" creationId="{944B4545-12FA-10DB-42DE-94D32CAB6D21}"/>
          </ac:spMkLst>
        </pc:spChg>
        <pc:spChg chg="add mod">
          <ac:chgData name="Moritz Lind" userId="S::61230@novasbe.pt::3c46de29-e3d8-46a3-bade-23b6b6ccc123" providerId="AD" clId="Web-{4240B496-9815-66EE-B3C5-9DDCD249563E}" dt="2024-05-16T16:02:11.136" v="2867" actId="1076"/>
          <ac:spMkLst>
            <pc:docMk/>
            <pc:sldMk cId="2805918559" sldId="320"/>
            <ac:spMk id="30" creationId="{BE927285-AD03-084A-6F7D-60BE64BB0379}"/>
          </ac:spMkLst>
        </pc:spChg>
        <pc:spChg chg="del mod">
          <ac:chgData name="Moritz Lind" userId="S::61230@novasbe.pt::3c46de29-e3d8-46a3-bade-23b6b6ccc123" providerId="AD" clId="Web-{4240B496-9815-66EE-B3C5-9DDCD249563E}" dt="2024-05-16T14:43:44.059" v="1077"/>
          <ac:spMkLst>
            <pc:docMk/>
            <pc:sldMk cId="2805918559" sldId="320"/>
            <ac:spMk id="31" creationId="{BF36CCF0-CC6B-3BDE-F23D-A5979DDC9B79}"/>
          </ac:spMkLst>
        </pc:spChg>
        <pc:spChg chg="del">
          <ac:chgData name="Moritz Lind" userId="S::61230@novasbe.pt::3c46de29-e3d8-46a3-bade-23b6b6ccc123" providerId="AD" clId="Web-{4240B496-9815-66EE-B3C5-9DDCD249563E}" dt="2024-05-16T10:02:00.548" v="808"/>
          <ac:spMkLst>
            <pc:docMk/>
            <pc:sldMk cId="2805918559" sldId="320"/>
            <ac:spMk id="32" creationId="{2112F1D8-3F5B-EAA4-EDB8-02817D7813AD}"/>
          </ac:spMkLst>
        </pc:spChg>
        <pc:spChg chg="add mod">
          <ac:chgData name="Moritz Lind" userId="S::61230@novasbe.pt::3c46de29-e3d8-46a3-bade-23b6b6ccc123" providerId="AD" clId="Web-{4240B496-9815-66EE-B3C5-9DDCD249563E}" dt="2024-05-16T16:06:43.069" v="2979" actId="1076"/>
          <ac:spMkLst>
            <pc:docMk/>
            <pc:sldMk cId="2805918559" sldId="320"/>
            <ac:spMk id="32" creationId="{489EFF2F-CA22-105C-8741-9F9E90168724}"/>
          </ac:spMkLst>
        </pc:spChg>
        <pc:spChg chg="del mod">
          <ac:chgData name="Moritz Lind" userId="S::61230@novasbe.pt::3c46de29-e3d8-46a3-bade-23b6b6ccc123" providerId="AD" clId="Web-{4240B496-9815-66EE-B3C5-9DDCD249563E}" dt="2024-05-16T14:43:44.059" v="1076"/>
          <ac:spMkLst>
            <pc:docMk/>
            <pc:sldMk cId="2805918559" sldId="320"/>
            <ac:spMk id="33" creationId="{C62E3ECD-E56C-A9A6-BC63-BE44E5A3AFC9}"/>
          </ac:spMkLst>
        </pc:spChg>
        <pc:spChg chg="del">
          <ac:chgData name="Moritz Lind" userId="S::61230@novasbe.pt::3c46de29-e3d8-46a3-bade-23b6b6ccc123" providerId="AD" clId="Web-{4240B496-9815-66EE-B3C5-9DDCD249563E}" dt="2024-05-16T10:01:45.485" v="803"/>
          <ac:spMkLst>
            <pc:docMk/>
            <pc:sldMk cId="2805918559" sldId="320"/>
            <ac:spMk id="34" creationId="{82E5B495-8523-7404-5EEE-29492246B203}"/>
          </ac:spMkLst>
        </pc:spChg>
        <pc:spChg chg="add del mod">
          <ac:chgData name="Moritz Lind" userId="S::61230@novasbe.pt::3c46de29-e3d8-46a3-bade-23b6b6ccc123" providerId="AD" clId="Web-{4240B496-9815-66EE-B3C5-9DDCD249563E}" dt="2024-05-16T15:59:15.442" v="2796"/>
          <ac:spMkLst>
            <pc:docMk/>
            <pc:sldMk cId="2805918559" sldId="320"/>
            <ac:spMk id="34" creationId="{AAE64BC9-4A3F-C189-6E1F-A7F904CB1455}"/>
          </ac:spMkLst>
        </pc:spChg>
        <pc:spChg chg="add del mod">
          <ac:chgData name="Moritz Lind" userId="S::61230@novasbe.pt::3c46de29-e3d8-46a3-bade-23b6b6ccc123" providerId="AD" clId="Web-{4240B496-9815-66EE-B3C5-9DDCD249563E}" dt="2024-05-16T16:06:43.084" v="2980" actId="1076"/>
          <ac:spMkLst>
            <pc:docMk/>
            <pc:sldMk cId="2805918559" sldId="320"/>
            <ac:spMk id="35" creationId="{4DE65AFA-27B2-6FE0-C0B3-4A32EC0E2053}"/>
          </ac:spMkLst>
        </pc:spChg>
        <pc:spChg chg="del mod">
          <ac:chgData name="Moritz Lind" userId="S::61230@novasbe.pt::3c46de29-e3d8-46a3-bade-23b6b6ccc123" providerId="AD" clId="Web-{4240B496-9815-66EE-B3C5-9DDCD249563E}" dt="2024-05-16T10:01:46.751" v="804"/>
          <ac:spMkLst>
            <pc:docMk/>
            <pc:sldMk cId="2805918559" sldId="320"/>
            <ac:spMk id="35" creationId="{FA8F21CC-2B01-A988-2393-B7AFDC8A0AFB}"/>
          </ac:spMkLst>
        </pc:spChg>
        <pc:spChg chg="add del mod">
          <ac:chgData name="Moritz Lind" userId="S::61230@novasbe.pt::3c46de29-e3d8-46a3-bade-23b6b6ccc123" providerId="AD" clId="Web-{4240B496-9815-66EE-B3C5-9DDCD249563E}" dt="2024-05-16T15:41:46.697" v="2411"/>
          <ac:spMkLst>
            <pc:docMk/>
            <pc:sldMk cId="2805918559" sldId="320"/>
            <ac:spMk id="36" creationId="{BC3B28A4-290F-EF82-317A-61E9E02BBAFB}"/>
          </ac:spMkLst>
        </pc:spChg>
        <pc:spChg chg="add mod">
          <ac:chgData name="Moritz Lind" userId="S::61230@novasbe.pt::3c46de29-e3d8-46a3-bade-23b6b6ccc123" providerId="AD" clId="Web-{4240B496-9815-66EE-B3C5-9DDCD249563E}" dt="2024-05-16T16:06:43.100" v="2981" actId="1076"/>
          <ac:spMkLst>
            <pc:docMk/>
            <pc:sldMk cId="2805918559" sldId="320"/>
            <ac:spMk id="37" creationId="{492F52C7-3CA3-789F-6081-8604DD66BF0B}"/>
          </ac:spMkLst>
        </pc:spChg>
        <pc:spChg chg="add del mod">
          <ac:chgData name="Moritz Lind" userId="S::61230@novasbe.pt::3c46de29-e3d8-46a3-bade-23b6b6ccc123" providerId="AD" clId="Web-{4240B496-9815-66EE-B3C5-9DDCD249563E}" dt="2024-05-16T14:59:07.487" v="1450"/>
          <ac:spMkLst>
            <pc:docMk/>
            <pc:sldMk cId="2805918559" sldId="320"/>
            <ac:spMk id="38" creationId="{94AF2372-3D2E-A310-104F-88B5B0F376A0}"/>
          </ac:spMkLst>
        </pc:spChg>
        <pc:spChg chg="del">
          <ac:chgData name="Moritz Lind" userId="S::61230@novasbe.pt::3c46de29-e3d8-46a3-bade-23b6b6ccc123" providerId="AD" clId="Web-{4240B496-9815-66EE-B3C5-9DDCD249563E}" dt="2024-05-16T09:58:39.918" v="692"/>
          <ac:spMkLst>
            <pc:docMk/>
            <pc:sldMk cId="2805918559" sldId="320"/>
            <ac:spMk id="38" creationId="{E3AA7216-045C-29FA-5CCC-F715393666F8}"/>
          </ac:spMkLst>
        </pc:spChg>
        <pc:spChg chg="add mod">
          <ac:chgData name="Moritz Lind" userId="S::61230@novasbe.pt::3c46de29-e3d8-46a3-bade-23b6b6ccc123" providerId="AD" clId="Web-{4240B496-9815-66EE-B3C5-9DDCD249563E}" dt="2024-05-16T16:09:08.371" v="3117" actId="20577"/>
          <ac:spMkLst>
            <pc:docMk/>
            <pc:sldMk cId="2805918559" sldId="320"/>
            <ac:spMk id="39" creationId="{7DD6B5CC-617E-6FF8-6DAE-1B4CA762465C}"/>
          </ac:spMkLst>
        </pc:spChg>
        <pc:spChg chg="add del mod">
          <ac:chgData name="Moritz Lind" userId="S::61230@novasbe.pt::3c46de29-e3d8-46a3-bade-23b6b6ccc123" providerId="AD" clId="Web-{4240B496-9815-66EE-B3C5-9DDCD249563E}" dt="2024-05-16T15:59:41.161" v="2817"/>
          <ac:spMkLst>
            <pc:docMk/>
            <pc:sldMk cId="2805918559" sldId="320"/>
            <ac:spMk id="40" creationId="{305EC599-3909-FB1E-4DE6-CBC17915E95F}"/>
          </ac:spMkLst>
        </pc:spChg>
        <pc:spChg chg="add mod">
          <ac:chgData name="Moritz Lind" userId="S::61230@novasbe.pt::3c46de29-e3d8-46a3-bade-23b6b6ccc123" providerId="AD" clId="Web-{4240B496-9815-66EE-B3C5-9DDCD249563E}" dt="2024-05-16T16:09:08.387" v="3118" actId="20577"/>
          <ac:spMkLst>
            <pc:docMk/>
            <pc:sldMk cId="2805918559" sldId="320"/>
            <ac:spMk id="41" creationId="{F8615F10-BFC9-0DF4-3BD2-2D98FB44E15E}"/>
          </ac:spMkLst>
        </pc:spChg>
        <pc:spChg chg="add mod">
          <ac:chgData name="Moritz Lind" userId="S::61230@novasbe.pt::3c46de29-e3d8-46a3-bade-23b6b6ccc123" providerId="AD" clId="Web-{4240B496-9815-66EE-B3C5-9DDCD249563E}" dt="2024-05-16T16:09:08.403" v="3119" actId="20577"/>
          <ac:spMkLst>
            <pc:docMk/>
            <pc:sldMk cId="2805918559" sldId="320"/>
            <ac:spMk id="42" creationId="{3321FC77-130A-636E-F2D5-4BE14EB64C49}"/>
          </ac:spMkLst>
        </pc:spChg>
        <pc:spChg chg="add mod">
          <ac:chgData name="Moritz Lind" userId="S::61230@novasbe.pt::3c46de29-e3d8-46a3-bade-23b6b6ccc123" providerId="AD" clId="Web-{4240B496-9815-66EE-B3C5-9DDCD249563E}" dt="2024-05-16T16:09:08.418" v="3120" actId="20577"/>
          <ac:spMkLst>
            <pc:docMk/>
            <pc:sldMk cId="2805918559" sldId="320"/>
            <ac:spMk id="43" creationId="{5A8E1E2C-FCE6-BB81-78AA-AB60D2883262}"/>
          </ac:spMkLst>
        </pc:spChg>
        <pc:spChg chg="add del mod">
          <ac:chgData name="Moritz Lind" userId="S::61230@novasbe.pt::3c46de29-e3d8-46a3-bade-23b6b6ccc123" providerId="AD" clId="Web-{4240B496-9815-66EE-B3C5-9DDCD249563E}" dt="2024-05-16T15:01:49.009" v="1551"/>
          <ac:spMkLst>
            <pc:docMk/>
            <pc:sldMk cId="2805918559" sldId="320"/>
            <ac:spMk id="44" creationId="{9DA337D6-71D6-EAD0-9B18-12B7AB318A2A}"/>
          </ac:spMkLst>
        </pc:spChg>
        <pc:spChg chg="del mod">
          <ac:chgData name="Moritz Lind" userId="S::61230@novasbe.pt::3c46de29-e3d8-46a3-bade-23b6b6ccc123" providerId="AD" clId="Web-{4240B496-9815-66EE-B3C5-9DDCD249563E}" dt="2024-05-16T14:43:44.059" v="1075"/>
          <ac:spMkLst>
            <pc:docMk/>
            <pc:sldMk cId="2805918559" sldId="320"/>
            <ac:spMk id="45" creationId="{DED615AE-506A-D551-6E9C-3FE21CB2CD21}"/>
          </ac:spMkLst>
        </pc:spChg>
        <pc:spChg chg="add del mod">
          <ac:chgData name="Moritz Lind" userId="S::61230@novasbe.pt::3c46de29-e3d8-46a3-bade-23b6b6ccc123" providerId="AD" clId="Web-{4240B496-9815-66EE-B3C5-9DDCD249563E}" dt="2024-05-16T15:41:46.697" v="2410"/>
          <ac:spMkLst>
            <pc:docMk/>
            <pc:sldMk cId="2805918559" sldId="320"/>
            <ac:spMk id="46" creationId="{A1E3C58F-9EC4-F740-97BD-8063EB7DF1A2}"/>
          </ac:spMkLst>
        </pc:spChg>
        <pc:spChg chg="add del mod">
          <ac:chgData name="Moritz Lind" userId="S::61230@novasbe.pt::3c46de29-e3d8-46a3-bade-23b6b6ccc123" providerId="AD" clId="Web-{4240B496-9815-66EE-B3C5-9DDCD249563E}" dt="2024-05-16T15:41:46.697" v="2409"/>
          <ac:spMkLst>
            <pc:docMk/>
            <pc:sldMk cId="2805918559" sldId="320"/>
            <ac:spMk id="47" creationId="{47386DAF-7088-C63A-1768-ECEAE919E5B4}"/>
          </ac:spMkLst>
        </pc:spChg>
        <pc:spChg chg="del mod">
          <ac:chgData name="Moritz Lind" userId="S::61230@novasbe.pt::3c46de29-e3d8-46a3-bade-23b6b6ccc123" providerId="AD" clId="Web-{4240B496-9815-66EE-B3C5-9DDCD249563E}" dt="2024-05-16T14:43:44.059" v="1074"/>
          <ac:spMkLst>
            <pc:docMk/>
            <pc:sldMk cId="2805918559" sldId="320"/>
            <ac:spMk id="48" creationId="{555C60C6-3CDE-8906-2EF3-0CDB3CEC03E0}"/>
          </ac:spMkLst>
        </pc:spChg>
        <pc:spChg chg="add mod">
          <ac:chgData name="Moritz Lind" userId="S::61230@novasbe.pt::3c46de29-e3d8-46a3-bade-23b6b6ccc123" providerId="AD" clId="Web-{4240B496-9815-66EE-B3C5-9DDCD249563E}" dt="2024-05-16T16:09:08.449" v="3121" actId="20577"/>
          <ac:spMkLst>
            <pc:docMk/>
            <pc:sldMk cId="2805918559" sldId="320"/>
            <ac:spMk id="49" creationId="{C881E14A-E9E4-4B08-F963-8CA567C4BB3F}"/>
          </ac:spMkLst>
        </pc:spChg>
        <pc:spChg chg="add del mod">
          <ac:chgData name="Moritz Lind" userId="S::61230@novasbe.pt::3c46de29-e3d8-46a3-bade-23b6b6ccc123" providerId="AD" clId="Web-{4240B496-9815-66EE-B3C5-9DDCD249563E}" dt="2024-05-16T15:41:46.697" v="2408"/>
          <ac:spMkLst>
            <pc:docMk/>
            <pc:sldMk cId="2805918559" sldId="320"/>
            <ac:spMk id="50" creationId="{7C1C74E2-C0FB-1272-3336-CFEE28F91D6D}"/>
          </ac:spMkLst>
        </pc:spChg>
        <pc:spChg chg="add mod">
          <ac:chgData name="Moritz Lind" userId="S::61230@novasbe.pt::3c46de29-e3d8-46a3-bade-23b6b6ccc123" providerId="AD" clId="Web-{4240B496-9815-66EE-B3C5-9DDCD249563E}" dt="2024-05-16T16:06:43.116" v="2982" actId="1076"/>
          <ac:spMkLst>
            <pc:docMk/>
            <pc:sldMk cId="2805918559" sldId="320"/>
            <ac:spMk id="51" creationId="{D4733507-C3D3-6E57-D01C-B6852151BEA8}"/>
          </ac:spMkLst>
        </pc:spChg>
        <pc:spChg chg="add del mod">
          <ac:chgData name="Moritz Lind" userId="S::61230@novasbe.pt::3c46de29-e3d8-46a3-bade-23b6b6ccc123" providerId="AD" clId="Web-{4240B496-9815-66EE-B3C5-9DDCD249563E}" dt="2024-05-16T15:59:41.161" v="2816"/>
          <ac:spMkLst>
            <pc:docMk/>
            <pc:sldMk cId="2805918559" sldId="320"/>
            <ac:spMk id="52" creationId="{A72C657B-17A6-9B65-D45D-CB99EBC2B41A}"/>
          </ac:spMkLst>
        </pc:spChg>
        <pc:spChg chg="add mod">
          <ac:chgData name="Moritz Lind" userId="S::61230@novasbe.pt::3c46de29-e3d8-46a3-bade-23b6b6ccc123" providerId="AD" clId="Web-{4240B496-9815-66EE-B3C5-9DDCD249563E}" dt="2024-05-16T16:06:43.131" v="2983" actId="1076"/>
          <ac:spMkLst>
            <pc:docMk/>
            <pc:sldMk cId="2805918559" sldId="320"/>
            <ac:spMk id="53" creationId="{0ADA5B24-5788-6840-F4A6-AA8CC3547EFF}"/>
          </ac:spMkLst>
        </pc:spChg>
        <pc:spChg chg="add del">
          <ac:chgData name="Moritz Lind" userId="S::61230@novasbe.pt::3c46de29-e3d8-46a3-bade-23b6b6ccc123" providerId="AD" clId="Web-{4240B496-9815-66EE-B3C5-9DDCD249563E}" dt="2024-05-16T15:03:46.935" v="1630"/>
          <ac:spMkLst>
            <pc:docMk/>
            <pc:sldMk cId="2805918559" sldId="320"/>
            <ac:spMk id="54" creationId="{6FD53A03-19DF-BE8A-E56F-3F4E88D63BE2}"/>
          </ac:spMkLst>
        </pc:spChg>
        <pc:spChg chg="add del">
          <ac:chgData name="Moritz Lind" userId="S::61230@novasbe.pt::3c46de29-e3d8-46a3-bade-23b6b6ccc123" providerId="AD" clId="Web-{4240B496-9815-66EE-B3C5-9DDCD249563E}" dt="2024-05-16T15:03:46.935" v="1629"/>
          <ac:spMkLst>
            <pc:docMk/>
            <pc:sldMk cId="2805918559" sldId="320"/>
            <ac:spMk id="55" creationId="{45B36C6F-7B45-F113-7D29-899C29C3FC01}"/>
          </ac:spMkLst>
        </pc:spChg>
        <pc:spChg chg="add mod">
          <ac:chgData name="Moritz Lind" userId="S::61230@novasbe.pt::3c46de29-e3d8-46a3-bade-23b6b6ccc123" providerId="AD" clId="Web-{4240B496-9815-66EE-B3C5-9DDCD249563E}" dt="2024-05-16T16:04:19.797" v="2905" actId="1076"/>
          <ac:spMkLst>
            <pc:docMk/>
            <pc:sldMk cId="2805918559" sldId="320"/>
            <ac:spMk id="56" creationId="{7FF20E80-89E4-71C3-4190-1974BAC2E72F}"/>
          </ac:spMkLst>
        </pc:spChg>
        <pc:spChg chg="add mod">
          <ac:chgData name="Moritz Lind" userId="S::61230@novasbe.pt::3c46de29-e3d8-46a3-bade-23b6b6ccc123" providerId="AD" clId="Web-{4240B496-9815-66EE-B3C5-9DDCD249563E}" dt="2024-05-16T16:02:11.511" v="2887" actId="1076"/>
          <ac:spMkLst>
            <pc:docMk/>
            <pc:sldMk cId="2805918559" sldId="320"/>
            <ac:spMk id="57" creationId="{3C7A0172-3908-C1B1-307A-F5CD95E17224}"/>
          </ac:spMkLst>
        </pc:spChg>
        <pc:spChg chg="add del mod">
          <ac:chgData name="Moritz Lind" userId="S::61230@novasbe.pt::3c46de29-e3d8-46a3-bade-23b6b6ccc123" providerId="AD" clId="Web-{4240B496-9815-66EE-B3C5-9DDCD249563E}" dt="2024-05-16T16:01:51.901" v="2846"/>
          <ac:spMkLst>
            <pc:docMk/>
            <pc:sldMk cId="2805918559" sldId="320"/>
            <ac:spMk id="71" creationId="{A68D20F3-6C0A-C677-F4F8-87F24647C608}"/>
          </ac:spMkLst>
        </pc:spChg>
        <pc:spChg chg="add del mod">
          <ac:chgData name="Moritz Lind" userId="S::61230@novasbe.pt::3c46de29-e3d8-46a3-bade-23b6b6ccc123" providerId="AD" clId="Web-{4240B496-9815-66EE-B3C5-9DDCD249563E}" dt="2024-05-16T16:02:22.902" v="2890"/>
          <ac:spMkLst>
            <pc:docMk/>
            <pc:sldMk cId="2805918559" sldId="320"/>
            <ac:spMk id="73" creationId="{CB0EBE17-1574-AABE-2783-A3E1B19D1ED7}"/>
          </ac:spMkLst>
        </pc:spChg>
        <pc:spChg chg="add del mod">
          <ac:chgData name="Moritz Lind" userId="S::61230@novasbe.pt::3c46de29-e3d8-46a3-bade-23b6b6ccc123" providerId="AD" clId="Web-{4240B496-9815-66EE-B3C5-9DDCD249563E}" dt="2024-05-16T16:02:25.684" v="2891"/>
          <ac:spMkLst>
            <pc:docMk/>
            <pc:sldMk cId="2805918559" sldId="320"/>
            <ac:spMk id="74" creationId="{180DB65F-7A20-D4F1-2027-3CF8E29918F5}"/>
          </ac:spMkLst>
        </pc:spChg>
        <pc:picChg chg="add del mod">
          <ac:chgData name="Moritz Lind" userId="S::61230@novasbe.pt::3c46de29-e3d8-46a3-bade-23b6b6ccc123" providerId="AD" clId="Web-{4240B496-9815-66EE-B3C5-9DDCD249563E}" dt="2024-05-16T16:03:02.904" v="2896"/>
          <ac:picMkLst>
            <pc:docMk/>
            <pc:sldMk cId="2805918559" sldId="320"/>
            <ac:picMk id="76" creationId="{98DCCAF0-4C81-26E3-5DBE-5FAD9EA6E7FA}"/>
          </ac:picMkLst>
        </pc:picChg>
        <pc:picChg chg="add mod">
          <ac:chgData name="Moritz Lind" userId="S::61230@novasbe.pt::3c46de29-e3d8-46a3-bade-23b6b6ccc123" providerId="AD" clId="Web-{4240B496-9815-66EE-B3C5-9DDCD249563E}" dt="2024-05-16T16:25:27.582" v="3481" actId="1076"/>
          <ac:picMkLst>
            <pc:docMk/>
            <pc:sldMk cId="2805918559" sldId="320"/>
            <ac:picMk id="77" creationId="{9E0C1184-7467-D611-5C8D-207CE613A196}"/>
          </ac:picMkLst>
        </pc:picChg>
        <pc:picChg chg="add mod">
          <ac:chgData name="Moritz Lind" userId="S::61230@novasbe.pt::3c46de29-e3d8-46a3-bade-23b6b6ccc123" providerId="AD" clId="Web-{4240B496-9815-66EE-B3C5-9DDCD249563E}" dt="2024-05-16T16:25:32.222" v="3483" actId="1076"/>
          <ac:picMkLst>
            <pc:docMk/>
            <pc:sldMk cId="2805918559" sldId="320"/>
            <ac:picMk id="78" creationId="{4C5C9A29-A420-DA1F-A079-5EACE6BFACC0}"/>
          </ac:picMkLst>
        </pc:picChg>
        <pc:cxnChg chg="del mod">
          <ac:chgData name="Moritz Lind" userId="S::61230@novasbe.pt::3c46de29-e3d8-46a3-bade-23b6b6ccc123" providerId="AD" clId="Web-{4240B496-9815-66EE-B3C5-9DDCD249563E}" dt="2024-05-16T16:25:09.753" v="3476"/>
          <ac:cxnSpMkLst>
            <pc:docMk/>
            <pc:sldMk cId="2805918559" sldId="320"/>
            <ac:cxnSpMk id="17" creationId="{2CE114BF-D485-E462-557F-A8A406880477}"/>
          </ac:cxnSpMkLst>
        </pc:cxnChg>
        <pc:cxnChg chg="add del mod">
          <ac:chgData name="Moritz Lind" userId="S::61230@novasbe.pt::3c46de29-e3d8-46a3-bade-23b6b6ccc123" providerId="AD" clId="Web-{4240B496-9815-66EE-B3C5-9DDCD249563E}" dt="2024-05-16T15:06:48.614" v="1683"/>
          <ac:cxnSpMkLst>
            <pc:docMk/>
            <pc:sldMk cId="2805918559" sldId="320"/>
            <ac:cxnSpMk id="58" creationId="{C3CDB7DC-F965-5E9C-807D-1FDA584EBAD6}"/>
          </ac:cxnSpMkLst>
        </pc:cxnChg>
        <pc:cxnChg chg="add mod ord">
          <ac:chgData name="Moritz Lind" userId="S::61230@novasbe.pt::3c46de29-e3d8-46a3-bade-23b6b6ccc123" providerId="AD" clId="Web-{4240B496-9815-66EE-B3C5-9DDCD249563E}" dt="2024-05-16T16:07:05.085" v="2984" actId="1076"/>
          <ac:cxnSpMkLst>
            <pc:docMk/>
            <pc:sldMk cId="2805918559" sldId="320"/>
            <ac:cxnSpMk id="59" creationId="{E05D725B-7B99-339F-0DC4-D9EB84AED048}"/>
          </ac:cxnSpMkLst>
        </pc:cxnChg>
        <pc:cxnChg chg="add del mod ord">
          <ac:chgData name="Moritz Lind" userId="S::61230@novasbe.pt::3c46de29-e3d8-46a3-bade-23b6b6ccc123" providerId="AD" clId="Web-{4240B496-9815-66EE-B3C5-9DDCD249563E}" dt="2024-05-16T15:41:46.697" v="2413"/>
          <ac:cxnSpMkLst>
            <pc:docMk/>
            <pc:sldMk cId="2805918559" sldId="320"/>
            <ac:cxnSpMk id="60" creationId="{13274D0E-B4D7-56EE-D5D7-E78FB0C526C5}"/>
          </ac:cxnSpMkLst>
        </pc:cxnChg>
        <pc:cxnChg chg="add del mod ord">
          <ac:chgData name="Moritz Lind" userId="S::61230@novasbe.pt::3c46de29-e3d8-46a3-bade-23b6b6ccc123" providerId="AD" clId="Web-{4240B496-9815-66EE-B3C5-9DDCD249563E}" dt="2024-05-16T15:41:46.697" v="2412"/>
          <ac:cxnSpMkLst>
            <pc:docMk/>
            <pc:sldMk cId="2805918559" sldId="320"/>
            <ac:cxnSpMk id="61" creationId="{7BB25CFB-F956-8C46-8E7B-5BCAA17E836C}"/>
          </ac:cxnSpMkLst>
        </pc:cxnChg>
        <pc:cxnChg chg="add mod ord">
          <ac:chgData name="Moritz Lind" userId="S::61230@novasbe.pt::3c46de29-e3d8-46a3-bade-23b6b6ccc123" providerId="AD" clId="Web-{4240B496-9815-66EE-B3C5-9DDCD249563E}" dt="2024-05-16T16:07:05.132" v="2988" actId="1076"/>
          <ac:cxnSpMkLst>
            <pc:docMk/>
            <pc:sldMk cId="2805918559" sldId="320"/>
            <ac:cxnSpMk id="62" creationId="{B2F50885-2FD7-58A3-DB03-F06D9048C023}"/>
          </ac:cxnSpMkLst>
        </pc:cxnChg>
        <pc:cxnChg chg="add mod ord">
          <ac:chgData name="Moritz Lind" userId="S::61230@novasbe.pt::3c46de29-e3d8-46a3-bade-23b6b6ccc123" providerId="AD" clId="Web-{4240B496-9815-66EE-B3C5-9DDCD249563E}" dt="2024-05-16T16:09:21.059" v="3123" actId="1076"/>
          <ac:cxnSpMkLst>
            <pc:docMk/>
            <pc:sldMk cId="2805918559" sldId="320"/>
            <ac:cxnSpMk id="63" creationId="{24879912-5235-0319-2030-122AE277B3B3}"/>
          </ac:cxnSpMkLst>
        </pc:cxnChg>
        <pc:cxnChg chg="add del mod ord">
          <ac:chgData name="Moritz Lind" userId="S::61230@novasbe.pt::3c46de29-e3d8-46a3-bade-23b6b6ccc123" providerId="AD" clId="Web-{4240B496-9815-66EE-B3C5-9DDCD249563E}" dt="2024-05-16T15:59:17.082" v="2798"/>
          <ac:cxnSpMkLst>
            <pc:docMk/>
            <pc:sldMk cId="2805918559" sldId="320"/>
            <ac:cxnSpMk id="64" creationId="{3E1C33F4-857C-BF47-EC17-2ABC7115582E}"/>
          </ac:cxnSpMkLst>
        </pc:cxnChg>
        <pc:cxnChg chg="add del mod ord">
          <ac:chgData name="Moritz Lind" userId="S::61230@novasbe.pt::3c46de29-e3d8-46a3-bade-23b6b6ccc123" providerId="AD" clId="Web-{4240B496-9815-66EE-B3C5-9DDCD249563E}" dt="2024-05-16T16:01:10.478" v="2836"/>
          <ac:cxnSpMkLst>
            <pc:docMk/>
            <pc:sldMk cId="2805918559" sldId="320"/>
            <ac:cxnSpMk id="65" creationId="{8BE54E74-7469-5140-5F2A-E8CF43C21DA5}"/>
          </ac:cxnSpMkLst>
        </pc:cxnChg>
        <pc:cxnChg chg="add mod ord">
          <ac:chgData name="Moritz Lind" userId="S::61230@novasbe.pt::3c46de29-e3d8-46a3-bade-23b6b6ccc123" providerId="AD" clId="Web-{4240B496-9815-66EE-B3C5-9DDCD249563E}" dt="2024-05-16T16:06:09.177" v="2965" actId="14100"/>
          <ac:cxnSpMkLst>
            <pc:docMk/>
            <pc:sldMk cId="2805918559" sldId="320"/>
            <ac:cxnSpMk id="66" creationId="{0026BAFE-32F7-AA13-A494-00A5498FD3A2}"/>
          </ac:cxnSpMkLst>
        </pc:cxnChg>
        <pc:cxnChg chg="add mod ord">
          <ac:chgData name="Moritz Lind" userId="S::61230@novasbe.pt::3c46de29-e3d8-46a3-bade-23b6b6ccc123" providerId="AD" clId="Web-{4240B496-9815-66EE-B3C5-9DDCD249563E}" dt="2024-05-16T16:07:05.148" v="2989" actId="1076"/>
          <ac:cxnSpMkLst>
            <pc:docMk/>
            <pc:sldMk cId="2805918559" sldId="320"/>
            <ac:cxnSpMk id="67" creationId="{76D06B94-FF63-A41C-7032-6BD48A913347}"/>
          </ac:cxnSpMkLst>
        </pc:cxnChg>
        <pc:cxnChg chg="add del mod ord">
          <ac:chgData name="Moritz Lind" userId="S::61230@novasbe.pt::3c46de29-e3d8-46a3-bade-23b6b6ccc123" providerId="AD" clId="Web-{4240B496-9815-66EE-B3C5-9DDCD249563E}" dt="2024-05-16T15:59:41.161" v="2818"/>
          <ac:cxnSpMkLst>
            <pc:docMk/>
            <pc:sldMk cId="2805918559" sldId="320"/>
            <ac:cxnSpMk id="68" creationId="{7382B687-4389-0097-8367-762D49B75390}"/>
          </ac:cxnSpMkLst>
        </pc:cxnChg>
        <pc:cxnChg chg="add del mod">
          <ac:chgData name="Moritz Lind" userId="S::61230@novasbe.pt::3c46de29-e3d8-46a3-bade-23b6b6ccc123" providerId="AD" clId="Web-{4240B496-9815-66EE-B3C5-9DDCD249563E}" dt="2024-05-16T16:04:50.986" v="2918"/>
          <ac:cxnSpMkLst>
            <pc:docMk/>
            <pc:sldMk cId="2805918559" sldId="320"/>
            <ac:cxnSpMk id="69" creationId="{61AC451D-48CF-12ED-F172-CCB0832252A8}"/>
          </ac:cxnSpMkLst>
        </pc:cxnChg>
        <pc:cxnChg chg="add mod ord">
          <ac:chgData name="Moritz Lind" userId="S::61230@novasbe.pt::3c46de29-e3d8-46a3-bade-23b6b6ccc123" providerId="AD" clId="Web-{4240B496-9815-66EE-B3C5-9DDCD249563E}" dt="2024-05-16T16:07:05.163" v="2990" actId="1076"/>
          <ac:cxnSpMkLst>
            <pc:docMk/>
            <pc:sldMk cId="2805918559" sldId="320"/>
            <ac:cxnSpMk id="70" creationId="{26A7D25D-6D9D-B00A-8FB4-17B309AF8FAB}"/>
          </ac:cxnSpMkLst>
        </pc:cxnChg>
        <pc:cxnChg chg="add mod ord">
          <ac:chgData name="Moritz Lind" userId="S::61230@novasbe.pt::3c46de29-e3d8-46a3-bade-23b6b6ccc123" providerId="AD" clId="Web-{4240B496-9815-66EE-B3C5-9DDCD249563E}" dt="2024-05-16T16:09:19.028" v="3122" actId="1076"/>
          <ac:cxnSpMkLst>
            <pc:docMk/>
            <pc:sldMk cId="2805918559" sldId="320"/>
            <ac:cxnSpMk id="75" creationId="{421C306D-16EE-6AED-7FCE-6308F5BBC373}"/>
          </ac:cxnSpMkLst>
        </pc:cxnChg>
        <pc:cxnChg chg="add mod ord">
          <ac:chgData name="Moritz Lind" userId="S::61230@novasbe.pt::3c46de29-e3d8-46a3-bade-23b6b6ccc123" providerId="AD" clId="Web-{4240B496-9815-66EE-B3C5-9DDCD249563E}" dt="2024-05-16T16:07:10.742" v="3042"/>
          <ac:cxnSpMkLst>
            <pc:docMk/>
            <pc:sldMk cId="2805918559" sldId="320"/>
            <ac:cxnSpMk id="79" creationId="{A03CE523-E824-6A7D-2323-5E562F7A5498}"/>
          </ac:cxnSpMkLst>
        </pc:cxnChg>
        <pc:cxnChg chg="add del">
          <ac:chgData name="Moritz Lind" userId="S::61230@novasbe.pt::3c46de29-e3d8-46a3-bade-23b6b6ccc123" providerId="AD" clId="Web-{4240B496-9815-66EE-B3C5-9DDCD249563E}" dt="2024-05-16T16:25:08.721" v="3475"/>
          <ac:cxnSpMkLst>
            <pc:docMk/>
            <pc:sldMk cId="2805918559" sldId="320"/>
            <ac:cxnSpMk id="81" creationId="{7911C54B-CBB4-542B-66E5-41CF9D2AE237}"/>
          </ac:cxnSpMkLst>
        </pc:cxnChg>
        <pc:cxnChg chg="add mod ord">
          <ac:chgData name="Moritz Lind" userId="S::61230@novasbe.pt::3c46de29-e3d8-46a3-bade-23b6b6ccc123" providerId="AD" clId="Web-{4240B496-9815-66EE-B3C5-9DDCD249563E}" dt="2024-05-16T16:25:18.316" v="3479"/>
          <ac:cxnSpMkLst>
            <pc:docMk/>
            <pc:sldMk cId="2805918559" sldId="320"/>
            <ac:cxnSpMk id="82" creationId="{7911C54B-CBB4-542B-66E5-41CF9D2AE237}"/>
          </ac:cxnSpMkLst>
        </pc:cxnChg>
      </pc:sldChg>
      <pc:sldChg chg="add del ord replId">
        <pc:chgData name="Moritz Lind" userId="S::61230@novasbe.pt::3c46de29-e3d8-46a3-bade-23b6b6ccc123" providerId="AD" clId="Web-{4240B496-9815-66EE-B3C5-9DDCD249563E}" dt="2024-05-16T14:43:28.746" v="1064"/>
        <pc:sldMkLst>
          <pc:docMk/>
          <pc:sldMk cId="2440546542" sldId="321"/>
        </pc:sldMkLst>
      </pc:sldChg>
      <pc:sldChg chg="addSp delSp modSp add replId">
        <pc:chgData name="Moritz Lind" userId="S::61230@novasbe.pt::3c46de29-e3d8-46a3-bade-23b6b6ccc123" providerId="AD" clId="Web-{4240B496-9815-66EE-B3C5-9DDCD249563E}" dt="2024-05-16T16:26:53.491" v="3562" actId="20577"/>
        <pc:sldMkLst>
          <pc:docMk/>
          <pc:sldMk cId="2970629482" sldId="321"/>
        </pc:sldMkLst>
        <pc:spChg chg="mod">
          <ac:chgData name="Moritz Lind" userId="S::61230@novasbe.pt::3c46de29-e3d8-46a3-bade-23b6b6ccc123" providerId="AD" clId="Web-{4240B496-9815-66EE-B3C5-9DDCD249563E}" dt="2024-05-16T15:11:05.874" v="1796" actId="20577"/>
          <ac:spMkLst>
            <pc:docMk/>
            <pc:sldMk cId="2970629482" sldId="321"/>
            <ac:spMk id="2" creationId="{F7857DC1-B240-2014-FF35-005F90715DFD}"/>
          </ac:spMkLst>
        </pc:spChg>
        <pc:spChg chg="mod">
          <ac:chgData name="Moritz Lind" userId="S::61230@novasbe.pt::3c46de29-e3d8-46a3-bade-23b6b6ccc123" providerId="AD" clId="Web-{4240B496-9815-66EE-B3C5-9DDCD249563E}" dt="2024-05-16T16:26:53.491" v="3562" actId="20577"/>
          <ac:spMkLst>
            <pc:docMk/>
            <pc:sldMk cId="2970629482" sldId="321"/>
            <ac:spMk id="3" creationId="{281105C5-44E1-6128-D52F-2586EB705ADC}"/>
          </ac:spMkLst>
        </pc:spChg>
        <pc:spChg chg="mod">
          <ac:chgData name="Moritz Lind" userId="S::61230@novasbe.pt::3c46de29-e3d8-46a3-bade-23b6b6ccc123" providerId="AD" clId="Web-{4240B496-9815-66EE-B3C5-9DDCD249563E}" dt="2024-05-16T16:20:33.320" v="3354" actId="1076"/>
          <ac:spMkLst>
            <pc:docMk/>
            <pc:sldMk cId="2970629482" sldId="321"/>
            <ac:spMk id="4" creationId="{029A1717-D749-9475-5E94-9E92A044E540}"/>
          </ac:spMkLst>
        </pc:spChg>
        <pc:spChg chg="del mod">
          <ac:chgData name="Moritz Lind" userId="S::61230@novasbe.pt::3c46de29-e3d8-46a3-bade-23b6b6ccc123" providerId="AD" clId="Web-{4240B496-9815-66EE-B3C5-9DDCD249563E}" dt="2024-05-16T16:18:26.737" v="3312"/>
          <ac:spMkLst>
            <pc:docMk/>
            <pc:sldMk cId="2970629482" sldId="321"/>
            <ac:spMk id="5" creationId="{0E2DFF73-1F05-FF4C-BB94-FBDCDE393650}"/>
          </ac:spMkLst>
        </pc:spChg>
        <pc:spChg chg="del mod">
          <ac:chgData name="Moritz Lind" userId="S::61230@novasbe.pt::3c46de29-e3d8-46a3-bade-23b6b6ccc123" providerId="AD" clId="Web-{4240B496-9815-66EE-B3C5-9DDCD249563E}" dt="2024-05-16T15:49:48.435" v="2586"/>
          <ac:spMkLst>
            <pc:docMk/>
            <pc:sldMk cId="2970629482" sldId="321"/>
            <ac:spMk id="6" creationId="{2973A21D-CE6E-F802-D2DD-243D2B669B4B}"/>
          </ac:spMkLst>
        </pc:spChg>
        <pc:spChg chg="del mod">
          <ac:chgData name="Moritz Lind" userId="S::61230@novasbe.pt::3c46de29-e3d8-46a3-bade-23b6b6ccc123" providerId="AD" clId="Web-{4240B496-9815-66EE-B3C5-9DDCD249563E}" dt="2024-05-16T15:49:48.435" v="2585"/>
          <ac:spMkLst>
            <pc:docMk/>
            <pc:sldMk cId="2970629482" sldId="321"/>
            <ac:spMk id="7" creationId="{2ACE1E85-54FD-8CCA-6274-8C77BB951A9E}"/>
          </ac:spMkLst>
        </pc:spChg>
        <pc:spChg chg="add mod">
          <ac:chgData name="Moritz Lind" userId="S::61230@novasbe.pt::3c46de29-e3d8-46a3-bade-23b6b6ccc123" providerId="AD" clId="Web-{4240B496-9815-66EE-B3C5-9DDCD249563E}" dt="2024-05-16T16:22:22.340" v="3413" actId="1076"/>
          <ac:spMkLst>
            <pc:docMk/>
            <pc:sldMk cId="2970629482" sldId="321"/>
            <ac:spMk id="14" creationId="{13AEE1E3-9434-EEFC-CDD7-0C263209BA0C}"/>
          </ac:spMkLst>
        </pc:spChg>
        <pc:spChg chg="mod">
          <ac:chgData name="Moritz Lind" userId="S::61230@novasbe.pt::3c46de29-e3d8-46a3-bade-23b6b6ccc123" providerId="AD" clId="Web-{4240B496-9815-66EE-B3C5-9DDCD249563E}" dt="2024-05-16T16:20:33.257" v="3350" actId="1076"/>
          <ac:spMkLst>
            <pc:docMk/>
            <pc:sldMk cId="2970629482" sldId="321"/>
            <ac:spMk id="25" creationId="{AF50A492-B016-E8BE-92C2-E5C7EC0C2F59}"/>
          </ac:spMkLst>
        </pc:spChg>
        <pc:spChg chg="mod">
          <ac:chgData name="Moritz Lind" userId="S::61230@novasbe.pt::3c46de29-e3d8-46a3-bade-23b6b6ccc123" providerId="AD" clId="Web-{4240B496-9815-66EE-B3C5-9DDCD249563E}" dt="2024-05-16T16:21:43.260" v="3399"/>
          <ac:spMkLst>
            <pc:docMk/>
            <pc:sldMk cId="2970629482" sldId="321"/>
            <ac:spMk id="26" creationId="{CBA1AAD0-6D7B-083C-8A3C-4D9FC143648D}"/>
          </ac:spMkLst>
        </pc:spChg>
        <pc:spChg chg="mod">
          <ac:chgData name="Moritz Lind" userId="S::61230@novasbe.pt::3c46de29-e3d8-46a3-bade-23b6b6ccc123" providerId="AD" clId="Web-{4240B496-9815-66EE-B3C5-9DDCD249563E}" dt="2024-05-16T16:22:22.277" v="3410" actId="1076"/>
          <ac:spMkLst>
            <pc:docMk/>
            <pc:sldMk cId="2970629482" sldId="321"/>
            <ac:spMk id="28" creationId="{4AAA4E85-0F92-1C8E-A8D9-E229FF14AF51}"/>
          </ac:spMkLst>
        </pc:spChg>
        <pc:spChg chg="mod">
          <ac:chgData name="Moritz Lind" userId="S::61230@novasbe.pt::3c46de29-e3d8-46a3-bade-23b6b6ccc123" providerId="AD" clId="Web-{4240B496-9815-66EE-B3C5-9DDCD249563E}" dt="2024-05-16T16:22:22.293" v="3411" actId="1076"/>
          <ac:spMkLst>
            <pc:docMk/>
            <pc:sldMk cId="2970629482" sldId="321"/>
            <ac:spMk id="29" creationId="{7108B188-BE1D-4E7E-C7B4-5C45F5300EB8}"/>
          </ac:spMkLst>
        </pc:spChg>
        <pc:spChg chg="del">
          <ac:chgData name="Moritz Lind" userId="S::61230@novasbe.pt::3c46de29-e3d8-46a3-bade-23b6b6ccc123" providerId="AD" clId="Web-{4240B496-9815-66EE-B3C5-9DDCD249563E}" dt="2024-05-16T15:49:48.435" v="2590"/>
          <ac:spMkLst>
            <pc:docMk/>
            <pc:sldMk cId="2970629482" sldId="321"/>
            <ac:spMk id="31" creationId="{BF36CCF0-CC6B-3BDE-F23D-A5979DDC9B79}"/>
          </ac:spMkLst>
        </pc:spChg>
        <pc:spChg chg="del">
          <ac:chgData name="Moritz Lind" userId="S::61230@novasbe.pt::3c46de29-e3d8-46a3-bade-23b6b6ccc123" providerId="AD" clId="Web-{4240B496-9815-66EE-B3C5-9DDCD249563E}" dt="2024-05-16T15:49:48.435" v="2589"/>
          <ac:spMkLst>
            <pc:docMk/>
            <pc:sldMk cId="2970629482" sldId="321"/>
            <ac:spMk id="33" creationId="{C62E3ECD-E56C-A9A6-BC63-BE44E5A3AFC9}"/>
          </ac:spMkLst>
        </pc:spChg>
        <pc:spChg chg="del">
          <ac:chgData name="Moritz Lind" userId="S::61230@novasbe.pt::3c46de29-e3d8-46a3-bade-23b6b6ccc123" providerId="AD" clId="Web-{4240B496-9815-66EE-B3C5-9DDCD249563E}" dt="2024-05-16T15:49:48.435" v="2588"/>
          <ac:spMkLst>
            <pc:docMk/>
            <pc:sldMk cId="2970629482" sldId="321"/>
            <ac:spMk id="45" creationId="{DED615AE-506A-D551-6E9C-3FE21CB2CD21}"/>
          </ac:spMkLst>
        </pc:spChg>
        <pc:spChg chg="del">
          <ac:chgData name="Moritz Lind" userId="S::61230@novasbe.pt::3c46de29-e3d8-46a3-bade-23b6b6ccc123" providerId="AD" clId="Web-{4240B496-9815-66EE-B3C5-9DDCD249563E}" dt="2024-05-16T15:49:48.435" v="2587"/>
          <ac:spMkLst>
            <pc:docMk/>
            <pc:sldMk cId="2970629482" sldId="321"/>
            <ac:spMk id="48" creationId="{555C60C6-3CDE-8906-2EF3-0CDB3CEC03E0}"/>
          </ac:spMkLst>
        </pc:spChg>
        <pc:picChg chg="add mod">
          <ac:chgData name="Moritz Lind" userId="S::61230@novasbe.pt::3c46de29-e3d8-46a3-bade-23b6b6ccc123" providerId="AD" clId="Web-{4240B496-9815-66EE-B3C5-9DDCD249563E}" dt="2024-05-16T16:20:33.382" v="3355" actId="1076"/>
          <ac:picMkLst>
            <pc:docMk/>
            <pc:sldMk cId="2970629482" sldId="321"/>
            <ac:picMk id="9" creationId="{E9CEA238-B81E-319D-BC72-90DD66C77DCB}"/>
          </ac:picMkLst>
        </pc:picChg>
        <pc:picChg chg="add mod">
          <ac:chgData name="Moritz Lind" userId="S::61230@novasbe.pt::3c46de29-e3d8-46a3-bade-23b6b6ccc123" providerId="AD" clId="Web-{4240B496-9815-66EE-B3C5-9DDCD249563E}" dt="2024-05-16T16:22:22.309" v="3412" actId="1076"/>
          <ac:picMkLst>
            <pc:docMk/>
            <pc:sldMk cId="2970629482" sldId="321"/>
            <ac:picMk id="11" creationId="{42D0B01B-93D5-BEF5-A503-5E287F176C1D}"/>
          </ac:picMkLst>
        </pc:picChg>
        <pc:cxnChg chg="add mod ord">
          <ac:chgData name="Moritz Lind" userId="S::61230@novasbe.pt::3c46de29-e3d8-46a3-bade-23b6b6ccc123" providerId="AD" clId="Web-{4240B496-9815-66EE-B3C5-9DDCD249563E}" dt="2024-05-16T16:22:27.996" v="3414" actId="14100"/>
          <ac:cxnSpMkLst>
            <pc:docMk/>
            <pc:sldMk cId="2970629482" sldId="321"/>
            <ac:cxnSpMk id="13" creationId="{63E1673F-DCD7-D30F-D2E2-FC2E975019BB}"/>
          </ac:cxnSpMkLst>
        </pc:cxnChg>
        <pc:cxnChg chg="del">
          <ac:chgData name="Moritz Lind" userId="S::61230@novasbe.pt::3c46de29-e3d8-46a3-bade-23b6b6ccc123" providerId="AD" clId="Web-{4240B496-9815-66EE-B3C5-9DDCD249563E}" dt="2024-05-16T15:49:48.435" v="2591"/>
          <ac:cxnSpMkLst>
            <pc:docMk/>
            <pc:sldMk cId="2970629482" sldId="321"/>
            <ac:cxnSpMk id="17" creationId="{2CE114BF-D485-E462-557F-A8A406880477}"/>
          </ac:cxnSpMkLst>
        </pc:cxnChg>
      </pc:sldChg>
      <pc:sldChg chg="modSp add del replId">
        <pc:chgData name="Moritz Lind" userId="S::61230@novasbe.pt::3c46de29-e3d8-46a3-bade-23b6b6ccc123" providerId="AD" clId="Web-{4240B496-9815-66EE-B3C5-9DDCD249563E}" dt="2024-05-16T10:25:39.041" v="1061"/>
        <pc:sldMkLst>
          <pc:docMk/>
          <pc:sldMk cId="3741827127" sldId="321"/>
        </pc:sldMkLst>
        <pc:spChg chg="mod">
          <ac:chgData name="Moritz Lind" userId="S::61230@novasbe.pt::3c46de29-e3d8-46a3-bade-23b6b6ccc123" providerId="AD" clId="Web-{4240B496-9815-66EE-B3C5-9DDCD249563E}" dt="2024-05-16T10:09:15.982" v="948" actId="20577"/>
          <ac:spMkLst>
            <pc:docMk/>
            <pc:sldMk cId="3741827127" sldId="321"/>
            <ac:spMk id="2" creationId="{F7857DC1-B240-2014-FF35-005F90715DFD}"/>
          </ac:spMkLst>
        </pc:spChg>
        <pc:spChg chg="mod">
          <ac:chgData name="Moritz Lind" userId="S::61230@novasbe.pt::3c46de29-e3d8-46a3-bade-23b6b6ccc123" providerId="AD" clId="Web-{4240B496-9815-66EE-B3C5-9DDCD249563E}" dt="2024-05-16T10:20:38.548" v="1060" actId="20577"/>
          <ac:spMkLst>
            <pc:docMk/>
            <pc:sldMk cId="3741827127" sldId="321"/>
            <ac:spMk id="3" creationId="{281105C5-44E1-6128-D52F-2586EB705ADC}"/>
          </ac:spMkLst>
        </pc:spChg>
        <pc:spChg chg="mod">
          <ac:chgData name="Moritz Lind" userId="S::61230@novasbe.pt::3c46de29-e3d8-46a3-bade-23b6b6ccc123" providerId="AD" clId="Web-{4240B496-9815-66EE-B3C5-9DDCD249563E}" dt="2024-05-16T10:09:07.138" v="938" actId="20577"/>
          <ac:spMkLst>
            <pc:docMk/>
            <pc:sldMk cId="3741827127" sldId="321"/>
            <ac:spMk id="4" creationId="{029A1717-D749-9475-5E94-9E92A044E540}"/>
          </ac:spMkLst>
        </pc:spChg>
      </pc:sldChg>
      <pc:sldChg chg="modSp add del replId">
        <pc:chgData name="Moritz Lind" userId="S::61230@novasbe.pt::3c46de29-e3d8-46a3-bade-23b6b6ccc123" providerId="AD" clId="Web-{4240B496-9815-66EE-B3C5-9DDCD249563E}" dt="2024-05-16T15:10:22.248" v="1706"/>
        <pc:sldMkLst>
          <pc:docMk/>
          <pc:sldMk cId="2660362" sldId="322"/>
        </pc:sldMkLst>
        <pc:spChg chg="mod">
          <ac:chgData name="Moritz Lind" userId="S::61230@novasbe.pt::3c46de29-e3d8-46a3-bade-23b6b6ccc123" providerId="AD" clId="Web-{4240B496-9815-66EE-B3C5-9DDCD249563E}" dt="2024-05-16T14:45:45.345" v="1129" actId="20577"/>
          <ac:spMkLst>
            <pc:docMk/>
            <pc:sldMk cId="2660362" sldId="322"/>
            <ac:spMk id="2" creationId="{F7857DC1-B240-2014-FF35-005F90715DFD}"/>
          </ac:spMkLst>
        </pc:spChg>
      </pc:sldChg>
      <pc:sldChg chg="modSp add del ord replId">
        <pc:chgData name="Moritz Lind" userId="S::61230@novasbe.pt::3c46de29-e3d8-46a3-bade-23b6b6ccc123" providerId="AD" clId="Web-{4240B496-9815-66EE-B3C5-9DDCD249563E}" dt="2024-05-16T15:11:26.907" v="1822"/>
        <pc:sldMkLst>
          <pc:docMk/>
          <pc:sldMk cId="4046069357" sldId="323"/>
        </pc:sldMkLst>
        <pc:spChg chg="mod">
          <ac:chgData name="Moritz Lind" userId="S::61230@novasbe.pt::3c46de29-e3d8-46a3-bade-23b6b6ccc123" providerId="AD" clId="Web-{4240B496-9815-66EE-B3C5-9DDCD249563E}" dt="2024-05-16T14:45:42.642" v="1125" actId="20577"/>
          <ac:spMkLst>
            <pc:docMk/>
            <pc:sldMk cId="4046069357" sldId="323"/>
            <ac:spMk id="2" creationId="{F7857DC1-B240-2014-FF35-005F90715DFD}"/>
          </ac:spMkLst>
        </pc:spChg>
      </pc:sldChg>
      <pc:sldChg chg="addSp delSp modSp add replId">
        <pc:chgData name="Moritz Lind" userId="S::61230@novasbe.pt::3c46de29-e3d8-46a3-bade-23b6b6ccc123" providerId="AD" clId="Web-{4240B496-9815-66EE-B3C5-9DDCD249563E}" dt="2024-05-16T16:27:48.321" v="3595" actId="1076"/>
        <pc:sldMkLst>
          <pc:docMk/>
          <pc:sldMk cId="453432096" sldId="324"/>
        </pc:sldMkLst>
        <pc:spChg chg="del">
          <ac:chgData name="Moritz Lind" userId="S::61230@novasbe.pt::3c46de29-e3d8-46a3-bade-23b6b6ccc123" providerId="AD" clId="Web-{4240B496-9815-66EE-B3C5-9DDCD249563E}" dt="2024-05-16T15:45:57.785" v="2478"/>
          <ac:spMkLst>
            <pc:docMk/>
            <pc:sldMk cId="453432096" sldId="324"/>
            <ac:spMk id="4" creationId="{029A1717-D749-9475-5E94-9E92A044E540}"/>
          </ac:spMkLst>
        </pc:spChg>
        <pc:spChg chg="del">
          <ac:chgData name="Moritz Lind" userId="S::61230@novasbe.pt::3c46de29-e3d8-46a3-bade-23b6b6ccc123" providerId="AD" clId="Web-{4240B496-9815-66EE-B3C5-9DDCD249563E}" dt="2024-05-16T16:23:33.905" v="3428"/>
          <ac:spMkLst>
            <pc:docMk/>
            <pc:sldMk cId="453432096" sldId="324"/>
            <ac:spMk id="5" creationId="{0E2DFF73-1F05-FF4C-BB94-FBDCDE393650}"/>
          </ac:spMkLst>
        </pc:spChg>
        <pc:spChg chg="del mod">
          <ac:chgData name="Moritz Lind" userId="S::61230@novasbe.pt::3c46de29-e3d8-46a3-bade-23b6b6ccc123" providerId="AD" clId="Web-{4240B496-9815-66EE-B3C5-9DDCD249563E}" dt="2024-05-16T16:27:41.993" v="3565"/>
          <ac:spMkLst>
            <pc:docMk/>
            <pc:sldMk cId="453432096" sldId="324"/>
            <ac:spMk id="6" creationId="{2973A21D-CE6E-F802-D2DD-243D2B669B4B}"/>
          </ac:spMkLst>
        </pc:spChg>
        <pc:spChg chg="add del mod">
          <ac:chgData name="Moritz Lind" userId="S::61230@novasbe.pt::3c46de29-e3d8-46a3-bade-23b6b6ccc123" providerId="AD" clId="Web-{4240B496-9815-66EE-B3C5-9DDCD249563E}" dt="2024-05-16T15:46:03.020" v="2481"/>
          <ac:spMkLst>
            <pc:docMk/>
            <pc:sldMk cId="453432096" sldId="324"/>
            <ac:spMk id="9" creationId="{65F0BD39-A3D1-CC68-DED0-CCBDA92F515E}"/>
          </ac:spMkLst>
        </pc:spChg>
        <pc:spChg chg="add del mod">
          <ac:chgData name="Moritz Lind" userId="S::61230@novasbe.pt::3c46de29-e3d8-46a3-bade-23b6b6ccc123" providerId="AD" clId="Web-{4240B496-9815-66EE-B3C5-9DDCD249563E}" dt="2024-05-16T16:25:41.816" v="3486"/>
          <ac:spMkLst>
            <pc:docMk/>
            <pc:sldMk cId="453432096" sldId="324"/>
            <ac:spMk id="11" creationId="{4EA11CCB-8537-CFE6-4354-D2E93882AC02}"/>
          </ac:spMkLst>
        </pc:spChg>
        <pc:spChg chg="mod">
          <ac:chgData name="Moritz Lind" userId="S::61230@novasbe.pt::3c46de29-e3d8-46a3-bade-23b6b6ccc123" providerId="AD" clId="Web-{4240B496-9815-66EE-B3C5-9DDCD249563E}" dt="2024-05-16T16:24:41.611" v="3462" actId="1076"/>
          <ac:spMkLst>
            <pc:docMk/>
            <pc:sldMk cId="453432096" sldId="324"/>
            <ac:spMk id="25" creationId="{AF50A492-B016-E8BE-92C2-E5C7EC0C2F59}"/>
          </ac:spMkLst>
        </pc:spChg>
        <pc:spChg chg="mod">
          <ac:chgData name="Moritz Lind" userId="S::61230@novasbe.pt::3c46de29-e3d8-46a3-bade-23b6b6ccc123" providerId="AD" clId="Web-{4240B496-9815-66EE-B3C5-9DDCD249563E}" dt="2024-05-16T16:24:48.033" v="3469" actId="1076"/>
          <ac:spMkLst>
            <pc:docMk/>
            <pc:sldMk cId="453432096" sldId="324"/>
            <ac:spMk id="26" creationId="{CBA1AAD0-6D7B-083C-8A3C-4D9FC143648D}"/>
          </ac:spMkLst>
        </pc:spChg>
        <pc:spChg chg="del">
          <ac:chgData name="Moritz Lind" userId="S::61230@novasbe.pt::3c46de29-e3d8-46a3-bade-23b6b6ccc123" providerId="AD" clId="Web-{4240B496-9815-66EE-B3C5-9DDCD249563E}" dt="2024-05-16T16:23:31.546" v="3427"/>
          <ac:spMkLst>
            <pc:docMk/>
            <pc:sldMk cId="453432096" sldId="324"/>
            <ac:spMk id="28" creationId="{4AAA4E85-0F92-1C8E-A8D9-E229FF14AF51}"/>
          </ac:spMkLst>
        </pc:spChg>
        <pc:spChg chg="del mod">
          <ac:chgData name="Moritz Lind" userId="S::61230@novasbe.pt::3c46de29-e3d8-46a3-bade-23b6b6ccc123" providerId="AD" clId="Web-{4240B496-9815-66EE-B3C5-9DDCD249563E}" dt="2024-05-16T16:23:28.264" v="3426"/>
          <ac:spMkLst>
            <pc:docMk/>
            <pc:sldMk cId="453432096" sldId="324"/>
            <ac:spMk id="29" creationId="{7108B188-BE1D-4E7E-C7B4-5C45F5300EB8}"/>
          </ac:spMkLst>
        </pc:spChg>
        <pc:spChg chg="mod">
          <ac:chgData name="Moritz Lind" userId="S::61230@novasbe.pt::3c46de29-e3d8-46a3-bade-23b6b6ccc123" providerId="AD" clId="Web-{4240B496-9815-66EE-B3C5-9DDCD249563E}" dt="2024-05-16T16:24:41.658" v="3464" actId="1076"/>
          <ac:spMkLst>
            <pc:docMk/>
            <pc:sldMk cId="453432096" sldId="324"/>
            <ac:spMk id="31" creationId="{BF36CCF0-CC6B-3BDE-F23D-A5979DDC9B79}"/>
          </ac:spMkLst>
        </pc:spChg>
        <pc:spChg chg="add del mod">
          <ac:chgData name="Moritz Lind" userId="S::61230@novasbe.pt::3c46de29-e3d8-46a3-bade-23b6b6ccc123" providerId="AD" clId="Web-{4240B496-9815-66EE-B3C5-9DDCD249563E}" dt="2024-05-16T16:24:42.767" v="3468"/>
          <ac:spMkLst>
            <pc:docMk/>
            <pc:sldMk cId="453432096" sldId="324"/>
            <ac:spMk id="32" creationId="{85E0C8DC-093D-A369-0313-EE7C1E4912E0}"/>
          </ac:spMkLst>
        </pc:spChg>
        <pc:spChg chg="mod">
          <ac:chgData name="Moritz Lind" userId="S::61230@novasbe.pt::3c46de29-e3d8-46a3-bade-23b6b6ccc123" providerId="AD" clId="Web-{4240B496-9815-66EE-B3C5-9DDCD249563E}" dt="2024-05-16T16:24:41.673" v="3465" actId="1076"/>
          <ac:spMkLst>
            <pc:docMk/>
            <pc:sldMk cId="453432096" sldId="324"/>
            <ac:spMk id="33" creationId="{C62E3ECD-E56C-A9A6-BC63-BE44E5A3AFC9}"/>
          </ac:spMkLst>
        </pc:spChg>
        <pc:spChg chg="add mod">
          <ac:chgData name="Moritz Lind" userId="S::61230@novasbe.pt::3c46de29-e3d8-46a3-bade-23b6b6ccc123" providerId="AD" clId="Web-{4240B496-9815-66EE-B3C5-9DDCD249563E}" dt="2024-05-16T16:27:47.915" v="3581" actId="1076"/>
          <ac:spMkLst>
            <pc:docMk/>
            <pc:sldMk cId="453432096" sldId="324"/>
            <ac:spMk id="37" creationId="{87F43303-DDC9-2140-3280-0FE1D7F95275}"/>
          </ac:spMkLst>
        </pc:spChg>
        <pc:spChg chg="mod">
          <ac:chgData name="Moritz Lind" userId="S::61230@novasbe.pt::3c46de29-e3d8-46a3-bade-23b6b6ccc123" providerId="AD" clId="Web-{4240B496-9815-66EE-B3C5-9DDCD249563E}" dt="2024-05-16T16:24:41.705" v="3466" actId="1076"/>
          <ac:spMkLst>
            <pc:docMk/>
            <pc:sldMk cId="453432096" sldId="324"/>
            <ac:spMk id="45" creationId="{DED615AE-506A-D551-6E9C-3FE21CB2CD21}"/>
          </ac:spMkLst>
        </pc:spChg>
        <pc:spChg chg="mod">
          <ac:chgData name="Moritz Lind" userId="S::61230@novasbe.pt::3c46de29-e3d8-46a3-bade-23b6b6ccc123" providerId="AD" clId="Web-{4240B496-9815-66EE-B3C5-9DDCD249563E}" dt="2024-05-16T16:24:41.720" v="3467" actId="1076"/>
          <ac:spMkLst>
            <pc:docMk/>
            <pc:sldMk cId="453432096" sldId="324"/>
            <ac:spMk id="48" creationId="{555C60C6-3CDE-8906-2EF3-0CDB3CEC03E0}"/>
          </ac:spMkLst>
        </pc:spChg>
        <pc:spChg chg="add mod">
          <ac:chgData name="Moritz Lind" userId="S::61230@novasbe.pt::3c46de29-e3d8-46a3-bade-23b6b6ccc123" providerId="AD" clId="Web-{4240B496-9815-66EE-B3C5-9DDCD249563E}" dt="2024-05-16T16:27:47.993" v="3583" actId="1076"/>
          <ac:spMkLst>
            <pc:docMk/>
            <pc:sldMk cId="453432096" sldId="324"/>
            <ac:spMk id="57" creationId="{3B1EE8E7-5056-84C9-FC7C-38B1387FE546}"/>
          </ac:spMkLst>
        </pc:spChg>
        <pc:spChg chg="add mod">
          <ac:chgData name="Moritz Lind" userId="S::61230@novasbe.pt::3c46de29-e3d8-46a3-bade-23b6b6ccc123" providerId="AD" clId="Web-{4240B496-9815-66EE-B3C5-9DDCD249563E}" dt="2024-05-16T16:27:48.025" v="3584" actId="1076"/>
          <ac:spMkLst>
            <pc:docMk/>
            <pc:sldMk cId="453432096" sldId="324"/>
            <ac:spMk id="59" creationId="{5F9F8BF8-BC2C-401F-D832-A9444245356F}"/>
          </ac:spMkLst>
        </pc:spChg>
        <pc:spChg chg="add mod">
          <ac:chgData name="Moritz Lind" userId="S::61230@novasbe.pt::3c46de29-e3d8-46a3-bade-23b6b6ccc123" providerId="AD" clId="Web-{4240B496-9815-66EE-B3C5-9DDCD249563E}" dt="2024-05-16T16:27:48.056" v="3585" actId="1076"/>
          <ac:spMkLst>
            <pc:docMk/>
            <pc:sldMk cId="453432096" sldId="324"/>
            <ac:spMk id="61" creationId="{E3A1E8EA-B64E-178E-B887-4368B1A2D688}"/>
          </ac:spMkLst>
        </pc:spChg>
        <pc:spChg chg="add mod">
          <ac:chgData name="Moritz Lind" userId="S::61230@novasbe.pt::3c46de29-e3d8-46a3-bade-23b6b6ccc123" providerId="AD" clId="Web-{4240B496-9815-66EE-B3C5-9DDCD249563E}" dt="2024-05-16T16:27:48.087" v="3586" actId="1076"/>
          <ac:spMkLst>
            <pc:docMk/>
            <pc:sldMk cId="453432096" sldId="324"/>
            <ac:spMk id="63" creationId="{C3848D0E-CC29-DCE0-0B79-4954110ECD1F}"/>
          </ac:spMkLst>
        </pc:spChg>
        <pc:spChg chg="add mod">
          <ac:chgData name="Moritz Lind" userId="S::61230@novasbe.pt::3c46de29-e3d8-46a3-bade-23b6b6ccc123" providerId="AD" clId="Web-{4240B496-9815-66EE-B3C5-9DDCD249563E}" dt="2024-05-16T16:27:48.118" v="3587" actId="1076"/>
          <ac:spMkLst>
            <pc:docMk/>
            <pc:sldMk cId="453432096" sldId="324"/>
            <ac:spMk id="65" creationId="{7D0709AA-78AB-1D90-22B7-6AE59D331E00}"/>
          </ac:spMkLst>
        </pc:spChg>
        <pc:spChg chg="add mod">
          <ac:chgData name="Moritz Lind" userId="S::61230@novasbe.pt::3c46de29-e3d8-46a3-bade-23b6b6ccc123" providerId="AD" clId="Web-{4240B496-9815-66EE-B3C5-9DDCD249563E}" dt="2024-05-16T16:27:48.150" v="3588" actId="1076"/>
          <ac:spMkLst>
            <pc:docMk/>
            <pc:sldMk cId="453432096" sldId="324"/>
            <ac:spMk id="67" creationId="{7AC4B8ED-2866-8BE3-8C27-88F6D0010429}"/>
          </ac:spMkLst>
        </pc:spChg>
        <pc:spChg chg="add mod">
          <ac:chgData name="Moritz Lind" userId="S::61230@novasbe.pt::3c46de29-e3d8-46a3-bade-23b6b6ccc123" providerId="AD" clId="Web-{4240B496-9815-66EE-B3C5-9DDCD249563E}" dt="2024-05-16T16:27:48.165" v="3589" actId="1076"/>
          <ac:spMkLst>
            <pc:docMk/>
            <pc:sldMk cId="453432096" sldId="324"/>
            <ac:spMk id="69" creationId="{9379BF3E-0AD6-503C-1BAF-D8F098420D7A}"/>
          </ac:spMkLst>
        </pc:spChg>
        <pc:spChg chg="add mod">
          <ac:chgData name="Moritz Lind" userId="S::61230@novasbe.pt::3c46de29-e3d8-46a3-bade-23b6b6ccc123" providerId="AD" clId="Web-{4240B496-9815-66EE-B3C5-9DDCD249563E}" dt="2024-05-16T16:27:48.196" v="3590" actId="1076"/>
          <ac:spMkLst>
            <pc:docMk/>
            <pc:sldMk cId="453432096" sldId="324"/>
            <ac:spMk id="71" creationId="{085CD5EF-93C5-55B6-20DB-4028697BDA6D}"/>
          </ac:spMkLst>
        </pc:spChg>
        <pc:grpChg chg="add mod">
          <ac:chgData name="Moritz Lind" userId="S::61230@novasbe.pt::3c46de29-e3d8-46a3-bade-23b6b6ccc123" providerId="AD" clId="Web-{4240B496-9815-66EE-B3C5-9DDCD249563E}" dt="2024-05-16T16:26:10.958" v="3493" actId="1076"/>
          <ac:grpSpMkLst>
            <pc:docMk/>
            <pc:sldMk cId="453432096" sldId="324"/>
            <ac:grpSpMk id="30" creationId="{FD9F7FD3-7F1A-7964-62B6-B3A5AFA1CE4F}"/>
          </ac:grpSpMkLst>
        </pc:grpChg>
        <pc:graphicFrameChg chg="add mod">
          <ac:chgData name="Moritz Lind" userId="S::61230@novasbe.pt::3c46de29-e3d8-46a3-bade-23b6b6ccc123" providerId="AD" clId="Web-{4240B496-9815-66EE-B3C5-9DDCD249563E}" dt="2024-05-16T16:27:47.962" v="3582" actId="1076"/>
          <ac:graphicFrameMkLst>
            <pc:docMk/>
            <pc:sldMk cId="453432096" sldId="324"/>
            <ac:graphicFrameMk id="39" creationId="{DA0A86B0-0CE2-40A9-A1B7-234403706DDF}"/>
          </ac:graphicFrameMkLst>
        </pc:graphicFrameChg>
        <pc:cxnChg chg="del mod">
          <ac:chgData name="Moritz Lind" userId="S::61230@novasbe.pt::3c46de29-e3d8-46a3-bade-23b6b6ccc123" providerId="AD" clId="Web-{4240B496-9815-66EE-B3C5-9DDCD249563E}" dt="2024-05-16T16:24:55.096" v="3471"/>
          <ac:cxnSpMkLst>
            <pc:docMk/>
            <pc:sldMk cId="453432096" sldId="324"/>
            <ac:cxnSpMk id="17" creationId="{2CE114BF-D485-E462-557F-A8A406880477}"/>
          </ac:cxnSpMkLst>
        </pc:cxnChg>
        <pc:cxnChg chg="add mod ord">
          <ac:chgData name="Moritz Lind" userId="S::61230@novasbe.pt::3c46de29-e3d8-46a3-bade-23b6b6ccc123" providerId="AD" clId="Web-{4240B496-9815-66EE-B3C5-9DDCD249563E}" dt="2024-05-16T16:25:00.705" v="3473"/>
          <ac:cxnSpMkLst>
            <pc:docMk/>
            <pc:sldMk cId="453432096" sldId="324"/>
            <ac:cxnSpMk id="35" creationId="{EFCB2A8B-77BE-8B08-08BA-08A914A85658}"/>
          </ac:cxnSpMkLst>
        </pc:cxnChg>
        <pc:cxnChg chg="add mod">
          <ac:chgData name="Moritz Lind" userId="S::61230@novasbe.pt::3c46de29-e3d8-46a3-bade-23b6b6ccc123" providerId="AD" clId="Web-{4240B496-9815-66EE-B3C5-9DDCD249563E}" dt="2024-05-16T16:27:48.212" v="3591" actId="1076"/>
          <ac:cxnSpMkLst>
            <pc:docMk/>
            <pc:sldMk cId="453432096" sldId="324"/>
            <ac:cxnSpMk id="73" creationId="{7A0CA9BF-F296-854B-1258-0C39207E6E9C}"/>
          </ac:cxnSpMkLst>
        </pc:cxnChg>
        <pc:cxnChg chg="add mod">
          <ac:chgData name="Moritz Lind" userId="S::61230@novasbe.pt::3c46de29-e3d8-46a3-bade-23b6b6ccc123" providerId="AD" clId="Web-{4240B496-9815-66EE-B3C5-9DDCD249563E}" dt="2024-05-16T16:27:48.243" v="3592" actId="1076"/>
          <ac:cxnSpMkLst>
            <pc:docMk/>
            <pc:sldMk cId="453432096" sldId="324"/>
            <ac:cxnSpMk id="75" creationId="{4FE8BD12-16C1-5BBC-D611-9637664BEDC4}"/>
          </ac:cxnSpMkLst>
        </pc:cxnChg>
        <pc:cxnChg chg="add mod">
          <ac:chgData name="Moritz Lind" userId="S::61230@novasbe.pt::3c46de29-e3d8-46a3-bade-23b6b6ccc123" providerId="AD" clId="Web-{4240B496-9815-66EE-B3C5-9DDCD249563E}" dt="2024-05-16T16:27:48.275" v="3593" actId="1076"/>
          <ac:cxnSpMkLst>
            <pc:docMk/>
            <pc:sldMk cId="453432096" sldId="324"/>
            <ac:cxnSpMk id="77" creationId="{D7DF2DF9-23EF-8670-FA36-26B5CBBE9874}"/>
          </ac:cxnSpMkLst>
        </pc:cxnChg>
        <pc:cxnChg chg="add mod">
          <ac:chgData name="Moritz Lind" userId="S::61230@novasbe.pt::3c46de29-e3d8-46a3-bade-23b6b6ccc123" providerId="AD" clId="Web-{4240B496-9815-66EE-B3C5-9DDCD249563E}" dt="2024-05-16T16:27:48.290" v="3594" actId="1076"/>
          <ac:cxnSpMkLst>
            <pc:docMk/>
            <pc:sldMk cId="453432096" sldId="324"/>
            <ac:cxnSpMk id="79" creationId="{F5D4E096-CBCC-6438-705B-7C6E0EC1529C}"/>
          </ac:cxnSpMkLst>
        </pc:cxnChg>
        <pc:cxnChg chg="add mod">
          <ac:chgData name="Moritz Lind" userId="S::61230@novasbe.pt::3c46de29-e3d8-46a3-bade-23b6b6ccc123" providerId="AD" clId="Web-{4240B496-9815-66EE-B3C5-9DDCD249563E}" dt="2024-05-16T16:27:48.321" v="3595" actId="1076"/>
          <ac:cxnSpMkLst>
            <pc:docMk/>
            <pc:sldMk cId="453432096" sldId="324"/>
            <ac:cxnSpMk id="81" creationId="{43E6A06B-E937-B847-A4EF-1C6B9F4505A0}"/>
          </ac:cxnSpMkLst>
        </pc:cxnChg>
      </pc:sldChg>
      <pc:sldChg chg="add del replId">
        <pc:chgData name="Moritz Lind" userId="S::61230@novasbe.pt::3c46de29-e3d8-46a3-bade-23b6b6ccc123" providerId="AD" clId="Web-{4240B496-9815-66EE-B3C5-9DDCD249563E}" dt="2024-05-16T15:10:52.030" v="1740"/>
        <pc:sldMkLst>
          <pc:docMk/>
          <pc:sldMk cId="1402966567" sldId="324"/>
        </pc:sldMkLst>
      </pc:sldChg>
      <pc:sldChg chg="add del replId">
        <pc:chgData name="Moritz Lind" userId="S::61230@novasbe.pt::3c46de29-e3d8-46a3-bade-23b6b6ccc123" providerId="AD" clId="Web-{4240B496-9815-66EE-B3C5-9DDCD249563E}" dt="2024-05-16T15:10:27.435" v="1708"/>
        <pc:sldMkLst>
          <pc:docMk/>
          <pc:sldMk cId="2087833224" sldId="324"/>
        </pc:sldMkLst>
      </pc:sldChg>
      <pc:sldChg chg="modSp add ord replId">
        <pc:chgData name="Moritz Lind" userId="S::61230@novasbe.pt::3c46de29-e3d8-46a3-bade-23b6b6ccc123" providerId="AD" clId="Web-{4240B496-9815-66EE-B3C5-9DDCD249563E}" dt="2024-05-16T15:54:04.133" v="2729" actId="20577"/>
        <pc:sldMkLst>
          <pc:docMk/>
          <pc:sldMk cId="2008942278" sldId="325"/>
        </pc:sldMkLst>
        <pc:spChg chg="mod">
          <ac:chgData name="Moritz Lind" userId="S::61230@novasbe.pt::3c46de29-e3d8-46a3-bade-23b6b6ccc123" providerId="AD" clId="Web-{4240B496-9815-66EE-B3C5-9DDCD249563E}" dt="2024-05-16T15:54:04.133" v="2729" actId="20577"/>
          <ac:spMkLst>
            <pc:docMk/>
            <pc:sldMk cId="2008942278" sldId="325"/>
            <ac:spMk id="2" creationId="{F7857DC1-B240-2014-FF35-005F90715DFD}"/>
          </ac:spMkLst>
        </pc:spChg>
      </pc:sldChg>
      <pc:sldChg chg="add replId">
        <pc:chgData name="Moritz Lind" userId="S::61230@novasbe.pt::3c46de29-e3d8-46a3-bade-23b6b6ccc123" providerId="AD" clId="Web-{4240B496-9815-66EE-B3C5-9DDCD249563E}" dt="2024-05-16T16:27:40.821" v="3564"/>
        <pc:sldMkLst>
          <pc:docMk/>
          <pc:sldMk cId="3650984918" sldId="326"/>
        </pc:sldMkLst>
      </pc:sldChg>
    </pc:docChg>
  </pc:docChgLst>
  <pc:docChgLst>
    <pc:chgData name="Moritz Lind" userId="S::61230@novasbe.pt::3c46de29-e3d8-46a3-bade-23b6b6ccc123" providerId="AD" clId="Web-{3C53C980-C5FF-0228-850F-7BC60E1ECDD9}"/>
    <pc:docChg chg="mod addSld delSld modSld">
      <pc:chgData name="Moritz Lind" userId="S::61230@novasbe.pt::3c46de29-e3d8-46a3-bade-23b6b6ccc123" providerId="AD" clId="Web-{3C53C980-C5FF-0228-850F-7BC60E1ECDD9}" dt="2024-05-14T11:39:10.271" v="377"/>
      <pc:docMkLst>
        <pc:docMk/>
      </pc:docMkLst>
      <pc:sldChg chg="modSp">
        <pc:chgData name="Moritz Lind" userId="S::61230@novasbe.pt::3c46de29-e3d8-46a3-bade-23b6b6ccc123" providerId="AD" clId="Web-{3C53C980-C5FF-0228-850F-7BC60E1ECDD9}" dt="2024-05-14T10:38:18.653" v="7" actId="20577"/>
        <pc:sldMkLst>
          <pc:docMk/>
          <pc:sldMk cId="2401001035" sldId="300"/>
        </pc:sldMkLst>
        <pc:spChg chg="mod">
          <ac:chgData name="Moritz Lind" userId="S::61230@novasbe.pt::3c46de29-e3d8-46a3-bade-23b6b6ccc123" providerId="AD" clId="Web-{3C53C980-C5FF-0228-850F-7BC60E1ECDD9}" dt="2024-05-14T10:38:11.200" v="6" actId="20577"/>
          <ac:spMkLst>
            <pc:docMk/>
            <pc:sldMk cId="2401001035" sldId="300"/>
            <ac:spMk id="3" creationId="{ED8E5DDE-5D4E-CDAE-6599-6967AAAF378D}"/>
          </ac:spMkLst>
        </pc:spChg>
        <pc:spChg chg="mod">
          <ac:chgData name="Moritz Lind" userId="S::61230@novasbe.pt::3c46de29-e3d8-46a3-bade-23b6b6ccc123" providerId="AD" clId="Web-{3C53C980-C5FF-0228-850F-7BC60E1ECDD9}" dt="2024-05-14T10:38:18.653" v="7" actId="20577"/>
          <ac:spMkLst>
            <pc:docMk/>
            <pc:sldMk cId="2401001035" sldId="300"/>
            <ac:spMk id="4" creationId="{6C9FD9ED-BDC2-080D-7C01-5BD5C9EFD45C}"/>
          </ac:spMkLst>
        </pc:spChg>
      </pc:sldChg>
      <pc:sldChg chg="modSp addCm">
        <pc:chgData name="Moritz Lind" userId="S::61230@novasbe.pt::3c46de29-e3d8-46a3-bade-23b6b6ccc123" providerId="AD" clId="Web-{3C53C980-C5FF-0228-850F-7BC60E1ECDD9}" dt="2024-05-14T10:40:09.547" v="10" actId="20577"/>
        <pc:sldMkLst>
          <pc:docMk/>
          <pc:sldMk cId="127659681" sldId="306"/>
        </pc:sldMkLst>
        <pc:spChg chg="mod">
          <ac:chgData name="Moritz Lind" userId="S::61230@novasbe.pt::3c46de29-e3d8-46a3-bade-23b6b6ccc123" providerId="AD" clId="Web-{3C53C980-C5FF-0228-850F-7BC60E1ECDD9}" dt="2024-05-14T10:40:09.547" v="10" actId="20577"/>
          <ac:spMkLst>
            <pc:docMk/>
            <pc:sldMk cId="127659681" sldId="306"/>
            <ac:spMk id="3" creationId="{7988F922-F0EA-6EA4-18D8-FD13A0098F50}"/>
          </ac:spMkLst>
        </pc:spChg>
        <pc:spChg chg="mod">
          <ac:chgData name="Moritz Lind" userId="S::61230@novasbe.pt::3c46de29-e3d8-46a3-bade-23b6b6ccc123" providerId="AD" clId="Web-{3C53C980-C5FF-0228-850F-7BC60E1ECDD9}" dt="2024-05-14T10:37:33.683" v="2" actId="20577"/>
          <ac:spMkLst>
            <pc:docMk/>
            <pc:sldMk cId="127659681" sldId="306"/>
            <ac:spMk id="5" creationId="{54587E6A-6ACE-2E21-4C03-679E04C632A8}"/>
          </ac:spMkLst>
        </pc:spChg>
        <pc:extLst>
          <p:ext xmlns:p="http://schemas.openxmlformats.org/presentationml/2006/main" uri="{D6D511B9-2390-475A-947B-AFAB55BFBCF1}">
            <pc226:cmChg xmlns:pc226="http://schemas.microsoft.com/office/powerpoint/2022/06/main/command" chg="add">
              <pc226:chgData name="Moritz Lind" userId="S::61230@novasbe.pt::3c46de29-e3d8-46a3-bade-23b6b6ccc123" providerId="AD" clId="Web-{3C53C980-C5FF-0228-850F-7BC60E1ECDD9}" dt="2024-05-14T10:39:18.342" v="9"/>
              <pc2:cmMkLst xmlns:pc2="http://schemas.microsoft.com/office/powerpoint/2019/9/main/command">
                <pc:docMk/>
                <pc:sldMk cId="127659681" sldId="306"/>
                <pc2:cmMk id="{DEC7E840-4C69-45F9-973F-90E2E9EC199D}"/>
              </pc2:cmMkLst>
            </pc226:cmChg>
          </p:ext>
        </pc:extLst>
      </pc:sldChg>
      <pc:sldChg chg="addSp delSp modSp">
        <pc:chgData name="Moritz Lind" userId="S::61230@novasbe.pt::3c46de29-e3d8-46a3-bade-23b6b6ccc123" providerId="AD" clId="Web-{3C53C980-C5FF-0228-850F-7BC60E1ECDD9}" dt="2024-05-14T11:25:40.808" v="327"/>
        <pc:sldMkLst>
          <pc:docMk/>
          <pc:sldMk cId="1968038587" sldId="307"/>
        </pc:sldMkLst>
        <pc:spChg chg="mod">
          <ac:chgData name="Moritz Lind" userId="S::61230@novasbe.pt::3c46de29-e3d8-46a3-bade-23b6b6ccc123" providerId="AD" clId="Web-{3C53C980-C5FF-0228-850F-7BC60E1ECDD9}" dt="2024-05-14T10:37:43.402" v="3" actId="20577"/>
          <ac:spMkLst>
            <pc:docMk/>
            <pc:sldMk cId="1968038587" sldId="307"/>
            <ac:spMk id="2" creationId="{7BBD94FD-B37B-9466-C761-F894B41C21C9}"/>
          </ac:spMkLst>
        </pc:spChg>
        <pc:spChg chg="add del">
          <ac:chgData name="Moritz Lind" userId="S::61230@novasbe.pt::3c46de29-e3d8-46a3-bade-23b6b6ccc123" providerId="AD" clId="Web-{3C53C980-C5FF-0228-850F-7BC60E1ECDD9}" dt="2024-05-14T11:25:40.808" v="326"/>
          <ac:spMkLst>
            <pc:docMk/>
            <pc:sldMk cId="1968038587" sldId="307"/>
            <ac:spMk id="9" creationId="{234A2254-ABC4-2A49-AAA1-7B4992B592D0}"/>
          </ac:spMkLst>
        </pc:spChg>
        <pc:spChg chg="add del">
          <ac:chgData name="Moritz Lind" userId="S::61230@novasbe.pt::3c46de29-e3d8-46a3-bade-23b6b6ccc123" providerId="AD" clId="Web-{3C53C980-C5FF-0228-850F-7BC60E1ECDD9}" dt="2024-05-14T11:25:40.808" v="327"/>
          <ac:spMkLst>
            <pc:docMk/>
            <pc:sldMk cId="1968038587" sldId="307"/>
            <ac:spMk id="10" creationId="{2E74CE5F-0592-853F-9FF5-66FA060C9920}"/>
          </ac:spMkLst>
        </pc:spChg>
      </pc:sldChg>
      <pc:sldChg chg="addSp delSp modSp">
        <pc:chgData name="Moritz Lind" userId="S::61230@novasbe.pt::3c46de29-e3d8-46a3-bade-23b6b6ccc123" providerId="AD" clId="Web-{3C53C980-C5FF-0228-850F-7BC60E1ECDD9}" dt="2024-05-14T11:26:54.485" v="363" actId="14100"/>
        <pc:sldMkLst>
          <pc:docMk/>
          <pc:sldMk cId="645465889" sldId="309"/>
        </pc:sldMkLst>
        <pc:spChg chg="mod">
          <ac:chgData name="Moritz Lind" userId="S::61230@novasbe.pt::3c46de29-e3d8-46a3-bade-23b6b6ccc123" providerId="AD" clId="Web-{3C53C980-C5FF-0228-850F-7BC60E1ECDD9}" dt="2024-05-14T11:26:54.485" v="363" actId="14100"/>
          <ac:spMkLst>
            <pc:docMk/>
            <pc:sldMk cId="645465889" sldId="309"/>
            <ac:spMk id="2" creationId="{F7857DC1-B240-2014-FF35-005F90715DFD}"/>
          </ac:spMkLst>
        </pc:spChg>
        <pc:spChg chg="mod">
          <ac:chgData name="Moritz Lind" userId="S::61230@novasbe.pt::3c46de29-e3d8-46a3-bade-23b6b6ccc123" providerId="AD" clId="Web-{3C53C980-C5FF-0228-850F-7BC60E1ECDD9}" dt="2024-05-14T11:19:40.752" v="279" actId="20577"/>
          <ac:spMkLst>
            <pc:docMk/>
            <pc:sldMk cId="645465889" sldId="309"/>
            <ac:spMk id="3" creationId="{281105C5-44E1-6128-D52F-2586EB705ADC}"/>
          </ac:spMkLst>
        </pc:spChg>
        <pc:spChg chg="add del">
          <ac:chgData name="Moritz Lind" userId="S::61230@novasbe.pt::3c46de29-e3d8-46a3-bade-23b6b6ccc123" providerId="AD" clId="Web-{3C53C980-C5FF-0228-850F-7BC60E1ECDD9}" dt="2024-05-14T10:45:15.525" v="58"/>
          <ac:spMkLst>
            <pc:docMk/>
            <pc:sldMk cId="645465889" sldId="309"/>
            <ac:spMk id="5" creationId="{C72464EC-9130-4A68-C08F-956BCF7E71C8}"/>
          </ac:spMkLst>
        </pc:spChg>
        <pc:spChg chg="add del">
          <ac:chgData name="Moritz Lind" userId="S::61230@novasbe.pt::3c46de29-e3d8-46a3-bade-23b6b6ccc123" providerId="AD" clId="Web-{3C53C980-C5FF-0228-850F-7BC60E1ECDD9}" dt="2024-05-14T10:45:13.587" v="57"/>
          <ac:spMkLst>
            <pc:docMk/>
            <pc:sldMk cId="645465889" sldId="309"/>
            <ac:spMk id="7" creationId="{BE9C684B-41CC-5989-8B12-9F31D78ECA66}"/>
          </ac:spMkLst>
        </pc:spChg>
        <pc:spChg chg="add mod">
          <ac:chgData name="Moritz Lind" userId="S::61230@novasbe.pt::3c46de29-e3d8-46a3-bade-23b6b6ccc123" providerId="AD" clId="Web-{3C53C980-C5FF-0228-850F-7BC60E1ECDD9}" dt="2024-05-14T11:26:13.013" v="341" actId="1076"/>
          <ac:spMkLst>
            <pc:docMk/>
            <pc:sldMk cId="645465889" sldId="309"/>
            <ac:spMk id="9" creationId="{F6BC87A6-ABCE-729D-2F20-2100937416B9}"/>
          </ac:spMkLst>
        </pc:spChg>
        <pc:spChg chg="add mod">
          <ac:chgData name="Moritz Lind" userId="S::61230@novasbe.pt::3c46de29-e3d8-46a3-bade-23b6b6ccc123" providerId="AD" clId="Web-{3C53C980-C5FF-0228-850F-7BC60E1ECDD9}" dt="2024-05-14T11:26:13.029" v="342" actId="1076"/>
          <ac:spMkLst>
            <pc:docMk/>
            <pc:sldMk cId="645465889" sldId="309"/>
            <ac:spMk id="11" creationId="{8998413E-21C2-E221-2254-8DC0AF18FCFB}"/>
          </ac:spMkLst>
        </pc:spChg>
        <pc:spChg chg="add mod">
          <ac:chgData name="Moritz Lind" userId="S::61230@novasbe.pt::3c46de29-e3d8-46a3-bade-23b6b6ccc123" providerId="AD" clId="Web-{3C53C980-C5FF-0228-850F-7BC60E1ECDD9}" dt="2024-05-14T11:26:13.045" v="343" actId="1076"/>
          <ac:spMkLst>
            <pc:docMk/>
            <pc:sldMk cId="645465889" sldId="309"/>
            <ac:spMk id="13" creationId="{35A134DE-CDE6-F7A6-EFF7-3C0FB22BA1E2}"/>
          </ac:spMkLst>
        </pc:spChg>
        <pc:spChg chg="add mod">
          <ac:chgData name="Moritz Lind" userId="S::61230@novasbe.pt::3c46de29-e3d8-46a3-bade-23b6b6ccc123" providerId="AD" clId="Web-{3C53C980-C5FF-0228-850F-7BC60E1ECDD9}" dt="2024-05-14T11:26:13.060" v="344" actId="1076"/>
          <ac:spMkLst>
            <pc:docMk/>
            <pc:sldMk cId="645465889" sldId="309"/>
            <ac:spMk id="15" creationId="{8C55EFBB-3CB2-0B69-E946-D76F79DE3C6A}"/>
          </ac:spMkLst>
        </pc:spChg>
        <pc:spChg chg="add mod">
          <ac:chgData name="Moritz Lind" userId="S::61230@novasbe.pt::3c46de29-e3d8-46a3-bade-23b6b6ccc123" providerId="AD" clId="Web-{3C53C980-C5FF-0228-850F-7BC60E1ECDD9}" dt="2024-05-14T11:26:13.076" v="345" actId="1076"/>
          <ac:spMkLst>
            <pc:docMk/>
            <pc:sldMk cId="645465889" sldId="309"/>
            <ac:spMk id="17" creationId="{B950E7AB-3B1E-6475-51E8-B45D85DC8D1D}"/>
          </ac:spMkLst>
        </pc:spChg>
        <pc:spChg chg="add mod">
          <ac:chgData name="Moritz Lind" userId="S::61230@novasbe.pt::3c46de29-e3d8-46a3-bade-23b6b6ccc123" providerId="AD" clId="Web-{3C53C980-C5FF-0228-850F-7BC60E1ECDD9}" dt="2024-05-14T11:26:13.092" v="346" actId="1076"/>
          <ac:spMkLst>
            <pc:docMk/>
            <pc:sldMk cId="645465889" sldId="309"/>
            <ac:spMk id="19" creationId="{F78655C6-7371-DF20-5DFF-C877DAB21A87}"/>
          </ac:spMkLst>
        </pc:spChg>
        <pc:spChg chg="add mod">
          <ac:chgData name="Moritz Lind" userId="S::61230@novasbe.pt::3c46de29-e3d8-46a3-bade-23b6b6ccc123" providerId="AD" clId="Web-{3C53C980-C5FF-0228-850F-7BC60E1ECDD9}" dt="2024-05-14T11:26:13.107" v="347" actId="1076"/>
          <ac:spMkLst>
            <pc:docMk/>
            <pc:sldMk cId="645465889" sldId="309"/>
            <ac:spMk id="21" creationId="{B840AEA6-8BC2-12B2-BFEB-A36227DDB173}"/>
          </ac:spMkLst>
        </pc:spChg>
        <pc:spChg chg="add mod">
          <ac:chgData name="Moritz Lind" userId="S::61230@novasbe.pt::3c46de29-e3d8-46a3-bade-23b6b6ccc123" providerId="AD" clId="Web-{3C53C980-C5FF-0228-850F-7BC60E1ECDD9}" dt="2024-05-14T11:26:13.123" v="348" actId="1076"/>
          <ac:spMkLst>
            <pc:docMk/>
            <pc:sldMk cId="645465889" sldId="309"/>
            <ac:spMk id="23" creationId="{BDFEE9C9-C5AB-DF0C-D078-0E4424D3F1A9}"/>
          </ac:spMkLst>
        </pc:spChg>
        <pc:spChg chg="add del mod">
          <ac:chgData name="Moritz Lind" userId="S::61230@novasbe.pt::3c46de29-e3d8-46a3-bade-23b6b6ccc123" providerId="AD" clId="Web-{3C53C980-C5FF-0228-850F-7BC60E1ECDD9}" dt="2024-05-14T11:25:17.385" v="308"/>
          <ac:spMkLst>
            <pc:docMk/>
            <pc:sldMk cId="645465889" sldId="309"/>
            <ac:spMk id="28" creationId="{FD6E77F9-3CDA-1617-F911-FEC298AE00A3}"/>
          </ac:spMkLst>
        </pc:spChg>
        <pc:spChg chg="add del mod">
          <ac:chgData name="Moritz Lind" userId="S::61230@novasbe.pt::3c46de29-e3d8-46a3-bade-23b6b6ccc123" providerId="AD" clId="Web-{3C53C980-C5FF-0228-850F-7BC60E1ECDD9}" dt="2024-05-14T11:25:17.385" v="307"/>
          <ac:spMkLst>
            <pc:docMk/>
            <pc:sldMk cId="645465889" sldId="309"/>
            <ac:spMk id="30" creationId="{90C5CB3D-003C-4751-11A7-5102D007A8CE}"/>
          </ac:spMkLst>
        </pc:spChg>
        <pc:spChg chg="add del">
          <ac:chgData name="Moritz Lind" userId="S::61230@novasbe.pt::3c46de29-e3d8-46a3-bade-23b6b6ccc123" providerId="AD" clId="Web-{3C53C980-C5FF-0228-850F-7BC60E1ECDD9}" dt="2024-05-14T11:26:03.341" v="336"/>
          <ac:spMkLst>
            <pc:docMk/>
            <pc:sldMk cId="645465889" sldId="309"/>
            <ac:spMk id="31" creationId="{6267D6C2-A8C2-8A43-1CF3-C77A6A34C876}"/>
          </ac:spMkLst>
        </pc:spChg>
        <pc:spChg chg="add mod">
          <ac:chgData name="Moritz Lind" userId="S::61230@novasbe.pt::3c46de29-e3d8-46a3-bade-23b6b6ccc123" providerId="AD" clId="Web-{3C53C980-C5FF-0228-850F-7BC60E1ECDD9}" dt="2024-05-14T11:26:13.138" v="349" actId="1076"/>
          <ac:spMkLst>
            <pc:docMk/>
            <pc:sldMk cId="645465889" sldId="309"/>
            <ac:spMk id="33" creationId="{62187799-B51D-9593-34A8-2C276D8D4A7A}"/>
          </ac:spMkLst>
        </pc:spChg>
        <pc:spChg chg="add mod">
          <ac:chgData name="Moritz Lind" userId="S::61230@novasbe.pt::3c46de29-e3d8-46a3-bade-23b6b6ccc123" providerId="AD" clId="Web-{3C53C980-C5FF-0228-850F-7BC60E1ECDD9}" dt="2024-05-14T11:26:13.154" v="350" actId="1076"/>
          <ac:spMkLst>
            <pc:docMk/>
            <pc:sldMk cId="645465889" sldId="309"/>
            <ac:spMk id="34" creationId="{4AB972D4-713E-470F-A7DF-C5009CE88F58}"/>
          </ac:spMkLst>
        </pc:spChg>
        <pc:spChg chg="add mod">
          <ac:chgData name="Moritz Lind" userId="S::61230@novasbe.pt::3c46de29-e3d8-46a3-bade-23b6b6ccc123" providerId="AD" clId="Web-{3C53C980-C5FF-0228-850F-7BC60E1ECDD9}" dt="2024-05-14T11:26:13.170" v="351" actId="1076"/>
          <ac:spMkLst>
            <pc:docMk/>
            <pc:sldMk cId="645465889" sldId="309"/>
            <ac:spMk id="35" creationId="{684EC822-81F1-EA43-4D47-9E955879D3E9}"/>
          </ac:spMkLst>
        </pc:spChg>
        <pc:spChg chg="add mod">
          <ac:chgData name="Moritz Lind" userId="S::61230@novasbe.pt::3c46de29-e3d8-46a3-bade-23b6b6ccc123" providerId="AD" clId="Web-{3C53C980-C5FF-0228-850F-7BC60E1ECDD9}" dt="2024-05-14T11:26:13.201" v="352" actId="1076"/>
          <ac:spMkLst>
            <pc:docMk/>
            <pc:sldMk cId="645465889" sldId="309"/>
            <ac:spMk id="36" creationId="{40F429D9-C594-B3E5-54DC-2DDA5ADBE2C1}"/>
          </ac:spMkLst>
        </pc:spChg>
        <pc:picChg chg="add del mod">
          <ac:chgData name="Moritz Lind" userId="S::61230@novasbe.pt::3c46de29-e3d8-46a3-bade-23b6b6ccc123" providerId="AD" clId="Web-{3C53C980-C5FF-0228-850F-7BC60E1ECDD9}" dt="2024-05-14T11:11:26.998" v="126"/>
          <ac:picMkLst>
            <pc:docMk/>
            <pc:sldMk cId="645465889" sldId="309"/>
            <ac:picMk id="4" creationId="{02F347EA-BE36-0723-5FFA-825E1E6D3E3F}"/>
          </ac:picMkLst>
        </pc:picChg>
        <pc:picChg chg="add del mod">
          <ac:chgData name="Moritz Lind" userId="S::61230@novasbe.pt::3c46de29-e3d8-46a3-bade-23b6b6ccc123" providerId="AD" clId="Web-{3C53C980-C5FF-0228-850F-7BC60E1ECDD9}" dt="2024-05-14T11:13:39.961" v="155"/>
          <ac:picMkLst>
            <pc:docMk/>
            <pc:sldMk cId="645465889" sldId="309"/>
            <ac:picMk id="5" creationId="{7847F009-57A6-1AE8-77C3-46AF826D7F1C}"/>
          </ac:picMkLst>
        </pc:picChg>
        <pc:picChg chg="add del mod">
          <ac:chgData name="Moritz Lind" userId="S::61230@novasbe.pt::3c46de29-e3d8-46a3-bade-23b6b6ccc123" providerId="AD" clId="Web-{3C53C980-C5FF-0228-850F-7BC60E1ECDD9}" dt="2024-05-14T11:12:40.316" v="141"/>
          <ac:picMkLst>
            <pc:docMk/>
            <pc:sldMk cId="645465889" sldId="309"/>
            <ac:picMk id="6" creationId="{13992A7E-E09A-F297-2429-DEADAB88D6F1}"/>
          </ac:picMkLst>
        </pc:picChg>
        <pc:picChg chg="add del mod">
          <ac:chgData name="Moritz Lind" userId="S::61230@novasbe.pt::3c46de29-e3d8-46a3-bade-23b6b6ccc123" providerId="AD" clId="Web-{3C53C980-C5FF-0228-850F-7BC60E1ECDD9}" dt="2024-05-14T11:13:39.961" v="154"/>
          <ac:picMkLst>
            <pc:docMk/>
            <pc:sldMk cId="645465889" sldId="309"/>
            <ac:picMk id="7" creationId="{3A330766-B13B-00C8-E847-0A9F567ACEF6}"/>
          </ac:picMkLst>
        </pc:picChg>
        <pc:picChg chg="add del mod">
          <ac:chgData name="Moritz Lind" userId="S::61230@novasbe.pt::3c46de29-e3d8-46a3-bade-23b6b6ccc123" providerId="AD" clId="Web-{3C53C980-C5FF-0228-850F-7BC60E1ECDD9}" dt="2024-05-14T11:13:42.367" v="159"/>
          <ac:picMkLst>
            <pc:docMk/>
            <pc:sldMk cId="645465889" sldId="309"/>
            <ac:picMk id="8" creationId="{06A1A548-3B9D-42B4-E3FC-9766F0AE3720}"/>
          </ac:picMkLst>
        </pc:picChg>
        <pc:picChg chg="add del mod">
          <ac:chgData name="Moritz Lind" userId="S::61230@novasbe.pt::3c46de29-e3d8-46a3-bade-23b6b6ccc123" providerId="AD" clId="Web-{3C53C980-C5FF-0228-850F-7BC60E1ECDD9}" dt="2024-05-14T11:13:42.352" v="158"/>
          <ac:picMkLst>
            <pc:docMk/>
            <pc:sldMk cId="645465889" sldId="309"/>
            <ac:picMk id="10" creationId="{4A94B77C-C921-6661-0B78-0405A842AEF0}"/>
          </ac:picMkLst>
        </pc:picChg>
        <pc:picChg chg="add del mod">
          <ac:chgData name="Moritz Lind" userId="S::61230@novasbe.pt::3c46de29-e3d8-46a3-bade-23b6b6ccc123" providerId="AD" clId="Web-{3C53C980-C5FF-0228-850F-7BC60E1ECDD9}" dt="2024-05-14T11:13:42.352" v="157"/>
          <ac:picMkLst>
            <pc:docMk/>
            <pc:sldMk cId="645465889" sldId="309"/>
            <ac:picMk id="12" creationId="{311D0503-E72C-96AC-E8D3-BDBB8A9B3B28}"/>
          </ac:picMkLst>
        </pc:picChg>
        <pc:picChg chg="add del mod">
          <ac:chgData name="Moritz Lind" userId="S::61230@novasbe.pt::3c46de29-e3d8-46a3-bade-23b6b6ccc123" providerId="AD" clId="Web-{3C53C980-C5FF-0228-850F-7BC60E1ECDD9}" dt="2024-05-14T11:13:42.352" v="156"/>
          <ac:picMkLst>
            <pc:docMk/>
            <pc:sldMk cId="645465889" sldId="309"/>
            <ac:picMk id="14" creationId="{1303603A-0AF7-982C-AF0B-421896BAB0FE}"/>
          </ac:picMkLst>
        </pc:picChg>
        <pc:picChg chg="add del mod">
          <ac:chgData name="Moritz Lind" userId="S::61230@novasbe.pt::3c46de29-e3d8-46a3-bade-23b6b6ccc123" providerId="AD" clId="Web-{3C53C980-C5FF-0228-850F-7BC60E1ECDD9}" dt="2024-05-14T11:14:04.634" v="168"/>
          <ac:picMkLst>
            <pc:docMk/>
            <pc:sldMk cId="645465889" sldId="309"/>
            <ac:picMk id="16" creationId="{55FE18FA-2015-2407-52BC-35073B070C6C}"/>
          </ac:picMkLst>
        </pc:picChg>
        <pc:picChg chg="add mod">
          <ac:chgData name="Moritz Lind" userId="S::61230@novasbe.pt::3c46de29-e3d8-46a3-bade-23b6b6ccc123" providerId="AD" clId="Web-{3C53C980-C5FF-0228-850F-7BC60E1ECDD9}" dt="2024-05-14T11:26:13.232" v="353" actId="1076"/>
          <ac:picMkLst>
            <pc:docMk/>
            <pc:sldMk cId="645465889" sldId="309"/>
            <ac:picMk id="18" creationId="{50E8D432-F503-B872-AFA2-F9333450859C}"/>
          </ac:picMkLst>
        </pc:picChg>
        <pc:picChg chg="add mod">
          <ac:chgData name="Moritz Lind" userId="S::61230@novasbe.pt::3c46de29-e3d8-46a3-bade-23b6b6ccc123" providerId="AD" clId="Web-{3C53C980-C5FF-0228-850F-7BC60E1ECDD9}" dt="2024-05-14T11:26:13.248" v="354" actId="1076"/>
          <ac:picMkLst>
            <pc:docMk/>
            <pc:sldMk cId="645465889" sldId="309"/>
            <ac:picMk id="20" creationId="{5CCC2BBE-D27A-D6BA-7F5D-982AB78804CD}"/>
          </ac:picMkLst>
        </pc:picChg>
        <pc:picChg chg="add mod">
          <ac:chgData name="Moritz Lind" userId="S::61230@novasbe.pt::3c46de29-e3d8-46a3-bade-23b6b6ccc123" providerId="AD" clId="Web-{3C53C980-C5FF-0228-850F-7BC60E1ECDD9}" dt="2024-05-14T11:26:13.279" v="355" actId="1076"/>
          <ac:picMkLst>
            <pc:docMk/>
            <pc:sldMk cId="645465889" sldId="309"/>
            <ac:picMk id="22" creationId="{F302A94F-1A75-9014-99F0-556919CE19DE}"/>
          </ac:picMkLst>
        </pc:picChg>
        <pc:picChg chg="add mod">
          <ac:chgData name="Moritz Lind" userId="S::61230@novasbe.pt::3c46de29-e3d8-46a3-bade-23b6b6ccc123" providerId="AD" clId="Web-{3C53C980-C5FF-0228-850F-7BC60E1ECDD9}" dt="2024-05-14T11:26:13.310" v="356" actId="1076"/>
          <ac:picMkLst>
            <pc:docMk/>
            <pc:sldMk cId="645465889" sldId="309"/>
            <ac:picMk id="24" creationId="{731C6BA7-18CC-7449-8CE6-462FB7B21BFA}"/>
          </ac:picMkLst>
        </pc:picChg>
        <pc:picChg chg="add del mod">
          <ac:chgData name="Moritz Lind" userId="S::61230@novasbe.pt::3c46de29-e3d8-46a3-bade-23b6b6ccc123" providerId="AD" clId="Web-{3C53C980-C5FF-0228-850F-7BC60E1ECDD9}" dt="2024-05-14T11:24:18.255" v="290"/>
          <ac:picMkLst>
            <pc:docMk/>
            <pc:sldMk cId="645465889" sldId="309"/>
            <ac:picMk id="26" creationId="{F768BBF6-DEB7-87DF-3997-C24BBF88EF31}"/>
          </ac:picMkLst>
        </pc:picChg>
      </pc:sldChg>
      <pc:sldChg chg="addSp delSp modSp add replId">
        <pc:chgData name="Moritz Lind" userId="S::61230@novasbe.pt::3c46de29-e3d8-46a3-bade-23b6b6ccc123" providerId="AD" clId="Web-{3C53C980-C5FF-0228-850F-7BC60E1ECDD9}" dt="2024-05-14T11:15:09.967" v="192"/>
        <pc:sldMkLst>
          <pc:docMk/>
          <pc:sldMk cId="3250682429" sldId="310"/>
        </pc:sldMkLst>
        <pc:picChg chg="add del mod">
          <ac:chgData name="Moritz Lind" userId="S::61230@novasbe.pt::3c46de29-e3d8-46a3-bade-23b6b6ccc123" providerId="AD" clId="Web-{3C53C980-C5FF-0228-850F-7BC60E1ECDD9}" dt="2024-05-14T11:13:45.789" v="161"/>
          <ac:picMkLst>
            <pc:docMk/>
            <pc:sldMk cId="3250682429" sldId="310"/>
            <ac:picMk id="4" creationId="{83F6D70F-BA60-8E70-2672-44EC15B6E74C}"/>
          </ac:picMkLst>
        </pc:picChg>
        <pc:picChg chg="add del mod">
          <ac:chgData name="Moritz Lind" userId="S::61230@novasbe.pt::3c46de29-e3d8-46a3-bade-23b6b6ccc123" providerId="AD" clId="Web-{3C53C980-C5FF-0228-850F-7BC60E1ECDD9}" dt="2024-05-14T11:14:46.372" v="183"/>
          <ac:picMkLst>
            <pc:docMk/>
            <pc:sldMk cId="3250682429" sldId="310"/>
            <ac:picMk id="5" creationId="{4CC7ABB5-BFA5-B7E4-21DC-6E29B0DAD4DF}"/>
          </ac:picMkLst>
        </pc:picChg>
        <pc:picChg chg="add del mod">
          <ac:chgData name="Moritz Lind" userId="S::61230@novasbe.pt::3c46de29-e3d8-46a3-bade-23b6b6ccc123" providerId="AD" clId="Web-{3C53C980-C5FF-0228-850F-7BC60E1ECDD9}" dt="2024-05-14T11:14:32.027" v="178"/>
          <ac:picMkLst>
            <pc:docMk/>
            <pc:sldMk cId="3250682429" sldId="310"/>
            <ac:picMk id="6" creationId="{CDD8860D-3EA3-756E-74FA-AEB9449E2EBD}"/>
          </ac:picMkLst>
        </pc:picChg>
        <pc:picChg chg="add del mod">
          <ac:chgData name="Moritz Lind" userId="S::61230@novasbe.pt::3c46de29-e3d8-46a3-bade-23b6b6ccc123" providerId="AD" clId="Web-{3C53C980-C5FF-0228-850F-7BC60E1ECDD9}" dt="2024-05-14T11:14:54.872" v="187"/>
          <ac:picMkLst>
            <pc:docMk/>
            <pc:sldMk cId="3250682429" sldId="310"/>
            <ac:picMk id="7" creationId="{3A6E3944-CD9F-C81D-1AA9-D25324180D52}"/>
          </ac:picMkLst>
        </pc:picChg>
        <pc:picChg chg="add del mod">
          <ac:chgData name="Moritz Lind" userId="S::61230@novasbe.pt::3c46de29-e3d8-46a3-bade-23b6b6ccc123" providerId="AD" clId="Web-{3C53C980-C5FF-0228-850F-7BC60E1ECDD9}" dt="2024-05-14T11:14:00.181" v="166"/>
          <ac:picMkLst>
            <pc:docMk/>
            <pc:sldMk cId="3250682429" sldId="310"/>
            <ac:picMk id="8" creationId="{2694AAF1-6C41-56A0-40FC-AD03BF06E565}"/>
          </ac:picMkLst>
        </pc:picChg>
        <pc:picChg chg="add del mod">
          <ac:chgData name="Moritz Lind" userId="S::61230@novasbe.pt::3c46de29-e3d8-46a3-bade-23b6b6ccc123" providerId="AD" clId="Web-{3C53C980-C5FF-0228-850F-7BC60E1ECDD9}" dt="2024-05-14T11:15:09.967" v="192"/>
          <ac:picMkLst>
            <pc:docMk/>
            <pc:sldMk cId="3250682429" sldId="310"/>
            <ac:picMk id="9" creationId="{E730226A-8D45-A7D1-4001-C22AA7E9E957}"/>
          </ac:picMkLst>
        </pc:picChg>
      </pc:sldChg>
      <pc:sldChg chg="add del replId">
        <pc:chgData name="Moritz Lind" userId="S::61230@novasbe.pt::3c46de29-e3d8-46a3-bade-23b6b6ccc123" providerId="AD" clId="Web-{3C53C980-C5FF-0228-850F-7BC60E1ECDD9}" dt="2024-05-14T10:44:59.165" v="46"/>
        <pc:sldMkLst>
          <pc:docMk/>
          <pc:sldMk cId="2780119965" sldId="311"/>
        </pc:sldMkLst>
      </pc:sldChg>
      <pc:sldChg chg="delSp modSp add del replId">
        <pc:chgData name="Moritz Lind" userId="S::61230@novasbe.pt::3c46de29-e3d8-46a3-bade-23b6b6ccc123" providerId="AD" clId="Web-{3C53C980-C5FF-0228-850F-7BC60E1ECDD9}" dt="2024-05-14T11:39:10.271" v="377"/>
        <pc:sldMkLst>
          <pc:docMk/>
          <pc:sldMk cId="3841049510" sldId="311"/>
        </pc:sldMkLst>
        <pc:spChg chg="mod">
          <ac:chgData name="Moritz Lind" userId="S::61230@novasbe.pt::3c46de29-e3d8-46a3-bade-23b6b6ccc123" providerId="AD" clId="Web-{3C53C980-C5FF-0228-850F-7BC60E1ECDD9}" dt="2024-05-14T11:27:17.752" v="371" actId="20577"/>
          <ac:spMkLst>
            <pc:docMk/>
            <pc:sldMk cId="3841049510" sldId="311"/>
            <ac:spMk id="2" creationId="{F7857DC1-B240-2014-FF35-005F90715DFD}"/>
          </ac:spMkLst>
        </pc:spChg>
        <pc:spChg chg="mod">
          <ac:chgData name="Moritz Lind" userId="S::61230@novasbe.pt::3c46de29-e3d8-46a3-bade-23b6b6ccc123" providerId="AD" clId="Web-{3C53C980-C5FF-0228-850F-7BC60E1ECDD9}" dt="2024-05-14T11:27:20.190" v="372" actId="20577"/>
          <ac:spMkLst>
            <pc:docMk/>
            <pc:sldMk cId="3841049510" sldId="311"/>
            <ac:spMk id="3" creationId="{281105C5-44E1-6128-D52F-2586EB705ADC}"/>
          </ac:spMkLst>
        </pc:spChg>
        <pc:picChg chg="del">
          <ac:chgData name="Moritz Lind" userId="S::61230@novasbe.pt::3c46de29-e3d8-46a3-bade-23b6b6ccc123" providerId="AD" clId="Web-{3C53C980-C5FF-0228-850F-7BC60E1ECDD9}" dt="2024-05-14T11:27:24.597" v="376"/>
          <ac:picMkLst>
            <pc:docMk/>
            <pc:sldMk cId="3841049510" sldId="311"/>
            <ac:picMk id="18" creationId="{50E8D432-F503-B872-AFA2-F9333450859C}"/>
          </ac:picMkLst>
        </pc:picChg>
        <pc:picChg chg="del">
          <ac:chgData name="Moritz Lind" userId="S::61230@novasbe.pt::3c46de29-e3d8-46a3-bade-23b6b6ccc123" providerId="AD" clId="Web-{3C53C980-C5FF-0228-850F-7BC60E1ECDD9}" dt="2024-05-14T11:27:24.597" v="375"/>
          <ac:picMkLst>
            <pc:docMk/>
            <pc:sldMk cId="3841049510" sldId="311"/>
            <ac:picMk id="20" creationId="{5CCC2BBE-D27A-D6BA-7F5D-982AB78804CD}"/>
          </ac:picMkLst>
        </pc:picChg>
        <pc:picChg chg="del">
          <ac:chgData name="Moritz Lind" userId="S::61230@novasbe.pt::3c46de29-e3d8-46a3-bade-23b6b6ccc123" providerId="AD" clId="Web-{3C53C980-C5FF-0228-850F-7BC60E1ECDD9}" dt="2024-05-14T11:27:24.597" v="374"/>
          <ac:picMkLst>
            <pc:docMk/>
            <pc:sldMk cId="3841049510" sldId="311"/>
            <ac:picMk id="22" creationId="{F302A94F-1A75-9014-99F0-556919CE19DE}"/>
          </ac:picMkLst>
        </pc:picChg>
        <pc:picChg chg="del">
          <ac:chgData name="Moritz Lind" userId="S::61230@novasbe.pt::3c46de29-e3d8-46a3-bade-23b6b6ccc123" providerId="AD" clId="Web-{3C53C980-C5FF-0228-850F-7BC60E1ECDD9}" dt="2024-05-14T11:27:24.597" v="373"/>
          <ac:picMkLst>
            <pc:docMk/>
            <pc:sldMk cId="3841049510" sldId="311"/>
            <ac:picMk id="24" creationId="{731C6BA7-18CC-7449-8CE6-462FB7B21BFA}"/>
          </ac:picMkLst>
        </pc:picChg>
      </pc:sldChg>
    </pc:docChg>
  </pc:docChgLst>
  <pc:docChgLst>
    <pc:chgData name="Hendrik Künnemann" userId="42049411-02c5-422c-a22f-150aa89b4dd4" providerId="ADAL" clId="{578E8D60-8950-F04D-98B0-3C702F5FCA63}"/>
    <pc:docChg chg="undo redo custSel addSld delSld modSld sldOrd modSection">
      <pc:chgData name="Hendrik Künnemann" userId="42049411-02c5-422c-a22f-150aa89b4dd4" providerId="ADAL" clId="{578E8D60-8950-F04D-98B0-3C702F5FCA63}" dt="2024-05-17T17:04:08.819" v="3285" actId="20577"/>
      <pc:docMkLst>
        <pc:docMk/>
      </pc:docMkLst>
      <pc:sldChg chg="addSp modSp mod">
        <pc:chgData name="Hendrik Künnemann" userId="42049411-02c5-422c-a22f-150aa89b4dd4" providerId="ADAL" clId="{578E8D60-8950-F04D-98B0-3C702F5FCA63}" dt="2024-05-17T17:04:08.819" v="3285" actId="20577"/>
        <pc:sldMkLst>
          <pc:docMk/>
          <pc:sldMk cId="2401001035" sldId="300"/>
        </pc:sldMkLst>
        <pc:spChg chg="mod">
          <ac:chgData name="Hendrik Künnemann" userId="42049411-02c5-422c-a22f-150aa89b4dd4" providerId="ADAL" clId="{578E8D60-8950-F04D-98B0-3C702F5FCA63}" dt="2024-05-14T17:13:51.661" v="2089" actId="14100"/>
          <ac:spMkLst>
            <pc:docMk/>
            <pc:sldMk cId="2401001035" sldId="300"/>
            <ac:spMk id="4" creationId="{6C9FD9ED-BDC2-080D-7C01-5BD5C9EFD45C}"/>
          </ac:spMkLst>
        </pc:spChg>
        <pc:spChg chg="add mod">
          <ac:chgData name="Hendrik Künnemann" userId="42049411-02c5-422c-a22f-150aa89b4dd4" providerId="ADAL" clId="{578E8D60-8950-F04D-98B0-3C702F5FCA63}" dt="2024-05-17T17:04:08.819" v="3285" actId="20577"/>
          <ac:spMkLst>
            <pc:docMk/>
            <pc:sldMk cId="2401001035" sldId="300"/>
            <ac:spMk id="7" creationId="{F8CAB2F6-047B-6019-51D3-C08BC8820565}"/>
          </ac:spMkLst>
        </pc:spChg>
      </pc:sldChg>
      <pc:sldChg chg="modSp mod addCm">
        <pc:chgData name="Hendrik Künnemann" userId="42049411-02c5-422c-a22f-150aa89b4dd4" providerId="ADAL" clId="{578E8D60-8950-F04D-98B0-3C702F5FCA63}" dt="2024-05-17T16:15:25.491" v="3114" actId="120"/>
        <pc:sldMkLst>
          <pc:docMk/>
          <pc:sldMk cId="127659681" sldId="306"/>
        </pc:sldMkLst>
        <pc:spChg chg="mod">
          <ac:chgData name="Hendrik Künnemann" userId="42049411-02c5-422c-a22f-150aa89b4dd4" providerId="ADAL" clId="{578E8D60-8950-F04D-98B0-3C702F5FCA63}" dt="2024-05-17T16:15:18.628" v="3111" actId="120"/>
          <ac:spMkLst>
            <pc:docMk/>
            <pc:sldMk cId="127659681" sldId="306"/>
            <ac:spMk id="5" creationId="{54587E6A-6ACE-2E21-4C03-679E04C632A8}"/>
          </ac:spMkLst>
        </pc:spChg>
        <pc:spChg chg="mod">
          <ac:chgData name="Hendrik Künnemann" userId="42049411-02c5-422c-a22f-150aa89b4dd4" providerId="ADAL" clId="{578E8D60-8950-F04D-98B0-3C702F5FCA63}" dt="2024-05-17T16:15:20.880" v="3112" actId="120"/>
          <ac:spMkLst>
            <pc:docMk/>
            <pc:sldMk cId="127659681" sldId="306"/>
            <ac:spMk id="6" creationId="{E5CBFAB4-A898-EBB5-CFF6-5860E63DA9D2}"/>
          </ac:spMkLst>
        </pc:spChg>
        <pc:spChg chg="mod">
          <ac:chgData name="Hendrik Künnemann" userId="42049411-02c5-422c-a22f-150aa89b4dd4" providerId="ADAL" clId="{578E8D60-8950-F04D-98B0-3C702F5FCA63}" dt="2024-05-17T16:15:22.817" v="3113" actId="120"/>
          <ac:spMkLst>
            <pc:docMk/>
            <pc:sldMk cId="127659681" sldId="306"/>
            <ac:spMk id="7" creationId="{F7F7936D-ADA2-34D7-ECF3-9F5A9C53337E}"/>
          </ac:spMkLst>
        </pc:spChg>
        <pc:spChg chg="mod">
          <ac:chgData name="Hendrik Künnemann" userId="42049411-02c5-422c-a22f-150aa89b4dd4" providerId="ADAL" clId="{578E8D60-8950-F04D-98B0-3C702F5FCA63}" dt="2024-05-17T16:15:25.491" v="3114" actId="120"/>
          <ac:spMkLst>
            <pc:docMk/>
            <pc:sldMk cId="127659681" sldId="306"/>
            <ac:spMk id="8" creationId="{B3F271A0-88FB-6537-41CE-BABDC167CA91}"/>
          </ac:spMkLst>
        </pc:spChg>
        <pc:extLst>
          <p:ext xmlns:p="http://schemas.openxmlformats.org/presentationml/2006/main" uri="{D6D511B9-2390-475A-947B-AFAB55BFBCF1}">
            <pc226:cmChg xmlns:pc226="http://schemas.microsoft.com/office/powerpoint/2022/06/main/command" chg="add">
              <pc226:chgData name="Hendrik Künnemann" userId="42049411-02c5-422c-a22f-150aa89b4dd4" providerId="ADAL" clId="{578E8D60-8950-F04D-98B0-3C702F5FCA63}" dt="2024-05-14T17:15:00.163" v="2090"/>
              <pc2:cmMkLst xmlns:pc2="http://schemas.microsoft.com/office/powerpoint/2019/9/main/command">
                <pc:docMk/>
                <pc:sldMk cId="127659681" sldId="306"/>
                <pc2:cmMk id="{509FCD2D-A135-C04D-BD92-C7F153B7B3DC}"/>
              </pc2:cmMkLst>
            </pc226:cmChg>
          </p:ext>
        </pc:extLst>
      </pc:sldChg>
      <pc:sldChg chg="modSp mod">
        <pc:chgData name="Hendrik Künnemann" userId="42049411-02c5-422c-a22f-150aa89b4dd4" providerId="ADAL" clId="{578E8D60-8950-F04D-98B0-3C702F5FCA63}" dt="2024-05-17T16:15:11.784" v="3110" actId="120"/>
        <pc:sldMkLst>
          <pc:docMk/>
          <pc:sldMk cId="1968038587" sldId="307"/>
        </pc:sldMkLst>
        <pc:spChg chg="mod">
          <ac:chgData name="Hendrik Künnemann" userId="42049411-02c5-422c-a22f-150aa89b4dd4" providerId="ADAL" clId="{578E8D60-8950-F04D-98B0-3C702F5FCA63}" dt="2024-05-17T16:15:04.710" v="3107" actId="120"/>
          <ac:spMkLst>
            <pc:docMk/>
            <pc:sldMk cId="1968038587" sldId="307"/>
            <ac:spMk id="9" creationId="{234A2254-ABC4-2A49-AAA1-7B4992B592D0}"/>
          </ac:spMkLst>
        </pc:spChg>
        <pc:spChg chg="mod">
          <ac:chgData name="Hendrik Künnemann" userId="42049411-02c5-422c-a22f-150aa89b4dd4" providerId="ADAL" clId="{578E8D60-8950-F04D-98B0-3C702F5FCA63}" dt="2024-05-17T16:15:06.860" v="3108" actId="120"/>
          <ac:spMkLst>
            <pc:docMk/>
            <pc:sldMk cId="1968038587" sldId="307"/>
            <ac:spMk id="14" creationId="{4C1C65ED-D697-206B-C5A7-DBEE2DDAB355}"/>
          </ac:spMkLst>
        </pc:spChg>
        <pc:spChg chg="mod">
          <ac:chgData name="Hendrik Künnemann" userId="42049411-02c5-422c-a22f-150aa89b4dd4" providerId="ADAL" clId="{578E8D60-8950-F04D-98B0-3C702F5FCA63}" dt="2024-05-17T16:15:09.009" v="3109" actId="120"/>
          <ac:spMkLst>
            <pc:docMk/>
            <pc:sldMk cId="1968038587" sldId="307"/>
            <ac:spMk id="18" creationId="{CD84C3DC-46B3-6C8E-AC55-FA76A140B218}"/>
          </ac:spMkLst>
        </pc:spChg>
        <pc:spChg chg="mod">
          <ac:chgData name="Hendrik Künnemann" userId="42049411-02c5-422c-a22f-150aa89b4dd4" providerId="ADAL" clId="{578E8D60-8950-F04D-98B0-3C702F5FCA63}" dt="2024-05-17T16:15:11.784" v="3110" actId="120"/>
          <ac:spMkLst>
            <pc:docMk/>
            <pc:sldMk cId="1968038587" sldId="307"/>
            <ac:spMk id="22" creationId="{5627AED8-8AAE-6705-BD2F-4E02E9DBE59E}"/>
          </ac:spMkLst>
        </pc:spChg>
      </pc:sldChg>
      <pc:sldChg chg="modSp mod">
        <pc:chgData name="Hendrik Künnemann" userId="42049411-02c5-422c-a22f-150aa89b4dd4" providerId="ADAL" clId="{578E8D60-8950-F04D-98B0-3C702F5FCA63}" dt="2024-05-17T16:14:59.402" v="3106" actId="120"/>
        <pc:sldMkLst>
          <pc:docMk/>
          <pc:sldMk cId="645465889" sldId="309"/>
        </pc:sldMkLst>
        <pc:spChg chg="mod">
          <ac:chgData name="Hendrik Künnemann" userId="42049411-02c5-422c-a22f-150aa89b4dd4" providerId="ADAL" clId="{578E8D60-8950-F04D-98B0-3C702F5FCA63}" dt="2024-05-17T16:14:52.394" v="3103" actId="120"/>
          <ac:spMkLst>
            <pc:docMk/>
            <pc:sldMk cId="645465889" sldId="309"/>
            <ac:spMk id="9" creationId="{F6BC87A6-ABCE-729D-2F20-2100937416B9}"/>
          </ac:spMkLst>
        </pc:spChg>
        <pc:spChg chg="mod">
          <ac:chgData name="Hendrik Künnemann" userId="42049411-02c5-422c-a22f-150aa89b4dd4" providerId="ADAL" clId="{578E8D60-8950-F04D-98B0-3C702F5FCA63}" dt="2024-05-17T16:14:54.686" v="3104" actId="120"/>
          <ac:spMkLst>
            <pc:docMk/>
            <pc:sldMk cId="645465889" sldId="309"/>
            <ac:spMk id="13" creationId="{35A134DE-CDE6-F7A6-EFF7-3C0FB22BA1E2}"/>
          </ac:spMkLst>
        </pc:spChg>
        <pc:spChg chg="mod">
          <ac:chgData name="Hendrik Künnemann" userId="42049411-02c5-422c-a22f-150aa89b4dd4" providerId="ADAL" clId="{578E8D60-8950-F04D-98B0-3C702F5FCA63}" dt="2024-05-17T16:14:57.183" v="3105" actId="120"/>
          <ac:spMkLst>
            <pc:docMk/>
            <pc:sldMk cId="645465889" sldId="309"/>
            <ac:spMk id="17" creationId="{B950E7AB-3B1E-6475-51E8-B45D85DC8D1D}"/>
          </ac:spMkLst>
        </pc:spChg>
        <pc:spChg chg="mod">
          <ac:chgData name="Hendrik Künnemann" userId="42049411-02c5-422c-a22f-150aa89b4dd4" providerId="ADAL" clId="{578E8D60-8950-F04D-98B0-3C702F5FCA63}" dt="2024-05-17T16:14:59.402" v="3106" actId="120"/>
          <ac:spMkLst>
            <pc:docMk/>
            <pc:sldMk cId="645465889" sldId="309"/>
            <ac:spMk id="21" creationId="{B840AEA6-8BC2-12B2-BFEB-A36227DDB173}"/>
          </ac:spMkLst>
        </pc:spChg>
      </pc:sldChg>
      <pc:sldChg chg="addSp delSp modSp mod">
        <pc:chgData name="Hendrik Künnemann" userId="42049411-02c5-422c-a22f-150aa89b4dd4" providerId="ADAL" clId="{578E8D60-8950-F04D-98B0-3C702F5FCA63}" dt="2024-05-14T16:58:45.957" v="1779" actId="478"/>
        <pc:sldMkLst>
          <pc:docMk/>
          <pc:sldMk cId="3250682429" sldId="310"/>
        </pc:sldMkLst>
        <pc:spChg chg="mod">
          <ac:chgData name="Hendrik Künnemann" userId="42049411-02c5-422c-a22f-150aa89b4dd4" providerId="ADAL" clId="{578E8D60-8950-F04D-98B0-3C702F5FCA63}" dt="2024-05-14T16:00:28.198" v="755" actId="20577"/>
          <ac:spMkLst>
            <pc:docMk/>
            <pc:sldMk cId="3250682429" sldId="310"/>
            <ac:spMk id="2" creationId="{F7857DC1-B240-2014-FF35-005F90715DFD}"/>
          </ac:spMkLst>
        </pc:spChg>
        <pc:spChg chg="mod">
          <ac:chgData name="Hendrik Künnemann" userId="42049411-02c5-422c-a22f-150aa89b4dd4" providerId="ADAL" clId="{578E8D60-8950-F04D-98B0-3C702F5FCA63}" dt="2024-05-14T16:11:51.061" v="877" actId="20577"/>
          <ac:spMkLst>
            <pc:docMk/>
            <pc:sldMk cId="3250682429" sldId="310"/>
            <ac:spMk id="3" creationId="{281105C5-44E1-6128-D52F-2586EB705ADC}"/>
          </ac:spMkLst>
        </pc:spChg>
        <pc:spChg chg="add mod">
          <ac:chgData name="Hendrik Künnemann" userId="42049411-02c5-422c-a22f-150aa89b4dd4" providerId="ADAL" clId="{578E8D60-8950-F04D-98B0-3C702F5FCA63}" dt="2024-05-14T15:02:36.241" v="1" actId="164"/>
          <ac:spMkLst>
            <pc:docMk/>
            <pc:sldMk cId="3250682429" sldId="310"/>
            <ac:spMk id="4" creationId="{25E69FC7-6C53-BEDD-A6CF-CA1CAC24EFB8}"/>
          </ac:spMkLst>
        </pc:spChg>
        <pc:spChg chg="add mod">
          <ac:chgData name="Hendrik Künnemann" userId="42049411-02c5-422c-a22f-150aa89b4dd4" providerId="ADAL" clId="{578E8D60-8950-F04D-98B0-3C702F5FCA63}" dt="2024-05-14T15:02:36.241" v="1" actId="164"/>
          <ac:spMkLst>
            <pc:docMk/>
            <pc:sldMk cId="3250682429" sldId="310"/>
            <ac:spMk id="5" creationId="{193D33CF-F1A4-02C5-8356-9223D16E13D8}"/>
          </ac:spMkLst>
        </pc:spChg>
        <pc:spChg chg="add mod">
          <ac:chgData name="Hendrik Künnemann" userId="42049411-02c5-422c-a22f-150aa89b4dd4" providerId="ADAL" clId="{578E8D60-8950-F04D-98B0-3C702F5FCA63}" dt="2024-05-14T15:02:36.241" v="1" actId="164"/>
          <ac:spMkLst>
            <pc:docMk/>
            <pc:sldMk cId="3250682429" sldId="310"/>
            <ac:spMk id="6" creationId="{4CB51929-EBED-DAE7-079E-0295713250AC}"/>
          </ac:spMkLst>
        </pc:spChg>
        <pc:spChg chg="add mod">
          <ac:chgData name="Hendrik Künnemann" userId="42049411-02c5-422c-a22f-150aa89b4dd4" providerId="ADAL" clId="{578E8D60-8950-F04D-98B0-3C702F5FCA63}" dt="2024-05-14T15:02:36.241" v="1" actId="164"/>
          <ac:spMkLst>
            <pc:docMk/>
            <pc:sldMk cId="3250682429" sldId="310"/>
            <ac:spMk id="7" creationId="{FAFDDEF5-2730-31AC-3545-D4B41046C668}"/>
          </ac:spMkLst>
        </pc:spChg>
        <pc:spChg chg="add mod">
          <ac:chgData name="Hendrik Künnemann" userId="42049411-02c5-422c-a22f-150aa89b4dd4" providerId="ADAL" clId="{578E8D60-8950-F04D-98B0-3C702F5FCA63}" dt="2024-05-14T15:02:36.241" v="1" actId="164"/>
          <ac:spMkLst>
            <pc:docMk/>
            <pc:sldMk cId="3250682429" sldId="310"/>
            <ac:spMk id="8" creationId="{B5633334-E50D-5B68-7E36-62FF9F66D314}"/>
          </ac:spMkLst>
        </pc:spChg>
        <pc:spChg chg="add mod">
          <ac:chgData name="Hendrik Künnemann" userId="42049411-02c5-422c-a22f-150aa89b4dd4" providerId="ADAL" clId="{578E8D60-8950-F04D-98B0-3C702F5FCA63}" dt="2024-05-14T15:02:36.241" v="1" actId="164"/>
          <ac:spMkLst>
            <pc:docMk/>
            <pc:sldMk cId="3250682429" sldId="310"/>
            <ac:spMk id="9" creationId="{D64DAED2-23BC-18B6-E52F-A236C66B6EA2}"/>
          </ac:spMkLst>
        </pc:spChg>
        <pc:spChg chg="add mod">
          <ac:chgData name="Hendrik Künnemann" userId="42049411-02c5-422c-a22f-150aa89b4dd4" providerId="ADAL" clId="{578E8D60-8950-F04D-98B0-3C702F5FCA63}" dt="2024-05-14T15:02:36.241" v="1" actId="164"/>
          <ac:spMkLst>
            <pc:docMk/>
            <pc:sldMk cId="3250682429" sldId="310"/>
            <ac:spMk id="10" creationId="{4BB2D379-EBC5-C67E-40DC-9E9F18A99FD8}"/>
          </ac:spMkLst>
        </pc:spChg>
        <pc:spChg chg="add mod">
          <ac:chgData name="Hendrik Künnemann" userId="42049411-02c5-422c-a22f-150aa89b4dd4" providerId="ADAL" clId="{578E8D60-8950-F04D-98B0-3C702F5FCA63}" dt="2024-05-14T15:02:36.241" v="1" actId="164"/>
          <ac:spMkLst>
            <pc:docMk/>
            <pc:sldMk cId="3250682429" sldId="310"/>
            <ac:spMk id="11" creationId="{326B10A2-6A96-30F8-2AFD-1D1B806C65C8}"/>
          </ac:spMkLst>
        </pc:spChg>
        <pc:spChg chg="add mod">
          <ac:chgData name="Hendrik Künnemann" userId="42049411-02c5-422c-a22f-150aa89b4dd4" providerId="ADAL" clId="{578E8D60-8950-F04D-98B0-3C702F5FCA63}" dt="2024-05-14T15:02:36.241" v="1" actId="164"/>
          <ac:spMkLst>
            <pc:docMk/>
            <pc:sldMk cId="3250682429" sldId="310"/>
            <ac:spMk id="12" creationId="{ED4FA104-E17A-5BF6-D1C0-99C1C3CE6645}"/>
          </ac:spMkLst>
        </pc:spChg>
        <pc:spChg chg="add mod">
          <ac:chgData name="Hendrik Künnemann" userId="42049411-02c5-422c-a22f-150aa89b4dd4" providerId="ADAL" clId="{578E8D60-8950-F04D-98B0-3C702F5FCA63}" dt="2024-05-14T15:02:36.241" v="1" actId="164"/>
          <ac:spMkLst>
            <pc:docMk/>
            <pc:sldMk cId="3250682429" sldId="310"/>
            <ac:spMk id="13" creationId="{57D76243-4483-9D9F-7A25-6E0A899B2614}"/>
          </ac:spMkLst>
        </pc:spChg>
        <pc:spChg chg="add mod">
          <ac:chgData name="Hendrik Künnemann" userId="42049411-02c5-422c-a22f-150aa89b4dd4" providerId="ADAL" clId="{578E8D60-8950-F04D-98B0-3C702F5FCA63}" dt="2024-05-14T15:02:36.241" v="1" actId="164"/>
          <ac:spMkLst>
            <pc:docMk/>
            <pc:sldMk cId="3250682429" sldId="310"/>
            <ac:spMk id="14" creationId="{F33748F9-8EE7-4055-9C23-1F0F3325DAAF}"/>
          </ac:spMkLst>
        </pc:spChg>
        <pc:spChg chg="add mod">
          <ac:chgData name="Hendrik Künnemann" userId="42049411-02c5-422c-a22f-150aa89b4dd4" providerId="ADAL" clId="{578E8D60-8950-F04D-98B0-3C702F5FCA63}" dt="2024-05-14T15:02:36.241" v="1" actId="164"/>
          <ac:spMkLst>
            <pc:docMk/>
            <pc:sldMk cId="3250682429" sldId="310"/>
            <ac:spMk id="15" creationId="{95702A76-CCC5-6FBC-F7A8-E7F7A78CDC6D}"/>
          </ac:spMkLst>
        </pc:spChg>
        <pc:spChg chg="add mod">
          <ac:chgData name="Hendrik Künnemann" userId="42049411-02c5-422c-a22f-150aa89b4dd4" providerId="ADAL" clId="{578E8D60-8950-F04D-98B0-3C702F5FCA63}" dt="2024-05-14T15:02:36.241" v="1" actId="164"/>
          <ac:spMkLst>
            <pc:docMk/>
            <pc:sldMk cId="3250682429" sldId="310"/>
            <ac:spMk id="16" creationId="{0F2DD1F9-F389-2B67-D817-40D6E9639671}"/>
          </ac:spMkLst>
        </pc:spChg>
        <pc:spChg chg="add mod">
          <ac:chgData name="Hendrik Künnemann" userId="42049411-02c5-422c-a22f-150aa89b4dd4" providerId="ADAL" clId="{578E8D60-8950-F04D-98B0-3C702F5FCA63}" dt="2024-05-14T15:02:36.241" v="1" actId="164"/>
          <ac:spMkLst>
            <pc:docMk/>
            <pc:sldMk cId="3250682429" sldId="310"/>
            <ac:spMk id="17" creationId="{17EF56A8-521E-BCB4-1EB0-C7ED06DE038B}"/>
          </ac:spMkLst>
        </pc:spChg>
        <pc:spChg chg="add mod">
          <ac:chgData name="Hendrik Künnemann" userId="42049411-02c5-422c-a22f-150aa89b4dd4" providerId="ADAL" clId="{578E8D60-8950-F04D-98B0-3C702F5FCA63}" dt="2024-05-14T15:02:36.241" v="1" actId="164"/>
          <ac:spMkLst>
            <pc:docMk/>
            <pc:sldMk cId="3250682429" sldId="310"/>
            <ac:spMk id="18" creationId="{F7E1796B-918A-04E0-DAEE-5B3069689371}"/>
          </ac:spMkLst>
        </pc:spChg>
        <pc:spChg chg="add mod">
          <ac:chgData name="Hendrik Künnemann" userId="42049411-02c5-422c-a22f-150aa89b4dd4" providerId="ADAL" clId="{578E8D60-8950-F04D-98B0-3C702F5FCA63}" dt="2024-05-14T15:02:36.241" v="1" actId="164"/>
          <ac:spMkLst>
            <pc:docMk/>
            <pc:sldMk cId="3250682429" sldId="310"/>
            <ac:spMk id="19" creationId="{9ADD6D8F-E4EA-22B5-CD7B-1B6BBB3EA25E}"/>
          </ac:spMkLst>
        </pc:spChg>
        <pc:spChg chg="add mod">
          <ac:chgData name="Hendrik Künnemann" userId="42049411-02c5-422c-a22f-150aa89b4dd4" providerId="ADAL" clId="{578E8D60-8950-F04D-98B0-3C702F5FCA63}" dt="2024-05-14T15:02:36.241" v="1" actId="164"/>
          <ac:spMkLst>
            <pc:docMk/>
            <pc:sldMk cId="3250682429" sldId="310"/>
            <ac:spMk id="20" creationId="{657DB1D6-204F-C17A-81E6-4019EA68E624}"/>
          </ac:spMkLst>
        </pc:spChg>
        <pc:spChg chg="add mod">
          <ac:chgData name="Hendrik Künnemann" userId="42049411-02c5-422c-a22f-150aa89b4dd4" providerId="ADAL" clId="{578E8D60-8950-F04D-98B0-3C702F5FCA63}" dt="2024-05-14T15:02:36.241" v="1" actId="164"/>
          <ac:spMkLst>
            <pc:docMk/>
            <pc:sldMk cId="3250682429" sldId="310"/>
            <ac:spMk id="21" creationId="{756BC337-67CA-7570-EAC5-374244762225}"/>
          </ac:spMkLst>
        </pc:spChg>
        <pc:spChg chg="add mod">
          <ac:chgData name="Hendrik Künnemann" userId="42049411-02c5-422c-a22f-150aa89b4dd4" providerId="ADAL" clId="{578E8D60-8950-F04D-98B0-3C702F5FCA63}" dt="2024-05-14T15:02:36.241" v="1" actId="164"/>
          <ac:spMkLst>
            <pc:docMk/>
            <pc:sldMk cId="3250682429" sldId="310"/>
            <ac:spMk id="22" creationId="{0BEDED8A-DABF-696A-C83F-9C85F2A2C7BF}"/>
          </ac:spMkLst>
        </pc:spChg>
        <pc:spChg chg="add mod">
          <ac:chgData name="Hendrik Künnemann" userId="42049411-02c5-422c-a22f-150aa89b4dd4" providerId="ADAL" clId="{578E8D60-8950-F04D-98B0-3C702F5FCA63}" dt="2024-05-14T15:02:36.241" v="1" actId="164"/>
          <ac:spMkLst>
            <pc:docMk/>
            <pc:sldMk cId="3250682429" sldId="310"/>
            <ac:spMk id="23" creationId="{09111533-AB33-A15F-D965-1DAAD3FC778F}"/>
          </ac:spMkLst>
        </pc:spChg>
        <pc:spChg chg="add mod">
          <ac:chgData name="Hendrik Künnemann" userId="42049411-02c5-422c-a22f-150aa89b4dd4" providerId="ADAL" clId="{578E8D60-8950-F04D-98B0-3C702F5FCA63}" dt="2024-05-14T15:24:44.984" v="58" actId="12789"/>
          <ac:spMkLst>
            <pc:docMk/>
            <pc:sldMk cId="3250682429" sldId="310"/>
            <ac:spMk id="25" creationId="{12D031E1-BCC9-6A6C-E447-886C99E9219B}"/>
          </ac:spMkLst>
        </pc:spChg>
        <pc:spChg chg="add mod">
          <ac:chgData name="Hendrik Künnemann" userId="42049411-02c5-422c-a22f-150aa89b4dd4" providerId="ADAL" clId="{578E8D60-8950-F04D-98B0-3C702F5FCA63}" dt="2024-05-14T15:30:49.739" v="106" actId="408"/>
          <ac:spMkLst>
            <pc:docMk/>
            <pc:sldMk cId="3250682429" sldId="310"/>
            <ac:spMk id="26" creationId="{B1BCEB6F-87C1-A1AA-8841-E93859402C9F}"/>
          </ac:spMkLst>
        </pc:spChg>
        <pc:spChg chg="add del mod">
          <ac:chgData name="Hendrik Künnemann" userId="42049411-02c5-422c-a22f-150aa89b4dd4" providerId="ADAL" clId="{578E8D60-8950-F04D-98B0-3C702F5FCA63}" dt="2024-05-14T15:23:45.944" v="31" actId="478"/>
          <ac:spMkLst>
            <pc:docMk/>
            <pc:sldMk cId="3250682429" sldId="310"/>
            <ac:spMk id="27" creationId="{107B677F-AE64-9802-BC7D-EA1564510423}"/>
          </ac:spMkLst>
        </pc:spChg>
        <pc:spChg chg="add mod">
          <ac:chgData name="Hendrik Künnemann" userId="42049411-02c5-422c-a22f-150aa89b4dd4" providerId="ADAL" clId="{578E8D60-8950-F04D-98B0-3C702F5FCA63}" dt="2024-05-14T16:57:38.670" v="1774" actId="207"/>
          <ac:spMkLst>
            <pc:docMk/>
            <pc:sldMk cId="3250682429" sldId="310"/>
            <ac:spMk id="28" creationId="{A6952BAB-2978-94AF-F9FB-C5B979017767}"/>
          </ac:spMkLst>
        </pc:spChg>
        <pc:spChg chg="add del mod">
          <ac:chgData name="Hendrik Künnemann" userId="42049411-02c5-422c-a22f-150aa89b4dd4" providerId="ADAL" clId="{578E8D60-8950-F04D-98B0-3C702F5FCA63}" dt="2024-05-14T15:26:38.245" v="77" actId="478"/>
          <ac:spMkLst>
            <pc:docMk/>
            <pc:sldMk cId="3250682429" sldId="310"/>
            <ac:spMk id="29" creationId="{5153576B-C7CA-1F90-C41B-9BE047F7C275}"/>
          </ac:spMkLst>
        </pc:spChg>
        <pc:spChg chg="add mod">
          <ac:chgData name="Hendrik Künnemann" userId="42049411-02c5-422c-a22f-150aa89b4dd4" providerId="ADAL" clId="{578E8D60-8950-F04D-98B0-3C702F5FCA63}" dt="2024-05-14T16:57:38.670" v="1774" actId="207"/>
          <ac:spMkLst>
            <pc:docMk/>
            <pc:sldMk cId="3250682429" sldId="310"/>
            <ac:spMk id="30" creationId="{C3516504-7086-A1C6-E708-83FF81423D1D}"/>
          </ac:spMkLst>
        </pc:spChg>
        <pc:spChg chg="add del mod">
          <ac:chgData name="Hendrik Künnemann" userId="42049411-02c5-422c-a22f-150aa89b4dd4" providerId="ADAL" clId="{578E8D60-8950-F04D-98B0-3C702F5FCA63}" dt="2024-05-14T15:34:13.736" v="193" actId="478"/>
          <ac:spMkLst>
            <pc:docMk/>
            <pc:sldMk cId="3250682429" sldId="310"/>
            <ac:spMk id="31" creationId="{AC3A0BFF-624A-A322-3B23-CFF7AE1E955A}"/>
          </ac:spMkLst>
        </pc:spChg>
        <pc:spChg chg="add mod">
          <ac:chgData name="Hendrik Künnemann" userId="42049411-02c5-422c-a22f-150aa89b4dd4" providerId="ADAL" clId="{578E8D60-8950-F04D-98B0-3C702F5FCA63}" dt="2024-05-14T15:33:34.257" v="149" actId="20577"/>
          <ac:spMkLst>
            <pc:docMk/>
            <pc:sldMk cId="3250682429" sldId="310"/>
            <ac:spMk id="32" creationId="{C9396762-2F4F-4182-B719-471EFF50460C}"/>
          </ac:spMkLst>
        </pc:spChg>
        <pc:spChg chg="add mod">
          <ac:chgData name="Hendrik Künnemann" userId="42049411-02c5-422c-a22f-150aa89b4dd4" providerId="ADAL" clId="{578E8D60-8950-F04D-98B0-3C702F5FCA63}" dt="2024-05-14T16:13:18.093" v="906" actId="3064"/>
          <ac:spMkLst>
            <pc:docMk/>
            <pc:sldMk cId="3250682429" sldId="310"/>
            <ac:spMk id="33" creationId="{BF1E37F2-53C6-5945-DECC-F3229F8569E1}"/>
          </ac:spMkLst>
        </pc:spChg>
        <pc:spChg chg="add mod">
          <ac:chgData name="Hendrik Künnemann" userId="42049411-02c5-422c-a22f-150aa89b4dd4" providerId="ADAL" clId="{578E8D60-8950-F04D-98B0-3C702F5FCA63}" dt="2024-05-14T15:38:01.463" v="282" actId="1076"/>
          <ac:spMkLst>
            <pc:docMk/>
            <pc:sldMk cId="3250682429" sldId="310"/>
            <ac:spMk id="34" creationId="{A1B30F78-82F9-D37A-95D1-1B8332B3EC03}"/>
          </ac:spMkLst>
        </pc:spChg>
        <pc:spChg chg="add mod">
          <ac:chgData name="Hendrik Künnemann" userId="42049411-02c5-422c-a22f-150aa89b4dd4" providerId="ADAL" clId="{578E8D60-8950-F04D-98B0-3C702F5FCA63}" dt="2024-05-14T16:13:48.099" v="908" actId="3064"/>
          <ac:spMkLst>
            <pc:docMk/>
            <pc:sldMk cId="3250682429" sldId="310"/>
            <ac:spMk id="35" creationId="{06EFCC93-5283-ABF7-F032-636F4C7ABE75}"/>
          </ac:spMkLst>
        </pc:spChg>
        <pc:spChg chg="add mod">
          <ac:chgData name="Hendrik Künnemann" userId="42049411-02c5-422c-a22f-150aa89b4dd4" providerId="ADAL" clId="{578E8D60-8950-F04D-98B0-3C702F5FCA63}" dt="2024-05-14T15:31:28.915" v="115" actId="14100"/>
          <ac:spMkLst>
            <pc:docMk/>
            <pc:sldMk cId="3250682429" sldId="310"/>
            <ac:spMk id="38" creationId="{7C34C81C-2E6B-C07A-C933-A03FC915262D}"/>
          </ac:spMkLst>
        </pc:spChg>
        <pc:spChg chg="add mod">
          <ac:chgData name="Hendrik Künnemann" userId="42049411-02c5-422c-a22f-150aa89b4dd4" providerId="ADAL" clId="{578E8D60-8950-F04D-98B0-3C702F5FCA63}" dt="2024-05-14T15:35:03.723" v="200" actId="1582"/>
          <ac:spMkLst>
            <pc:docMk/>
            <pc:sldMk cId="3250682429" sldId="310"/>
            <ac:spMk id="40" creationId="{0829BD89-A558-8CFF-948B-D30E476C0424}"/>
          </ac:spMkLst>
        </pc:spChg>
        <pc:spChg chg="add del mod">
          <ac:chgData name="Hendrik Künnemann" userId="42049411-02c5-422c-a22f-150aa89b4dd4" providerId="ADAL" clId="{578E8D60-8950-F04D-98B0-3C702F5FCA63}" dt="2024-05-14T16:58:45.957" v="1779" actId="478"/>
          <ac:spMkLst>
            <pc:docMk/>
            <pc:sldMk cId="3250682429" sldId="310"/>
            <ac:spMk id="42" creationId="{0568A94B-04D0-F61A-9964-3DB12EA98837}"/>
          </ac:spMkLst>
        </pc:spChg>
        <pc:grpChg chg="add del mod">
          <ac:chgData name="Hendrik Künnemann" userId="42049411-02c5-422c-a22f-150aa89b4dd4" providerId="ADAL" clId="{578E8D60-8950-F04D-98B0-3C702F5FCA63}" dt="2024-05-14T15:10:58.363" v="6" actId="478"/>
          <ac:grpSpMkLst>
            <pc:docMk/>
            <pc:sldMk cId="3250682429" sldId="310"/>
            <ac:grpSpMk id="24" creationId="{F94AF5DD-AAC2-2CC0-B59E-CB130AD3DC05}"/>
          </ac:grpSpMkLst>
        </pc:grpChg>
        <pc:grpChg chg="add mod">
          <ac:chgData name="Hendrik Künnemann" userId="42049411-02c5-422c-a22f-150aa89b4dd4" providerId="ADAL" clId="{578E8D60-8950-F04D-98B0-3C702F5FCA63}" dt="2024-05-14T15:38:01.463" v="282" actId="1076"/>
          <ac:grpSpMkLst>
            <pc:docMk/>
            <pc:sldMk cId="3250682429" sldId="310"/>
            <ac:grpSpMk id="36" creationId="{B23A74EF-0963-3931-2890-5C458CBEF29B}"/>
          </ac:grpSpMkLst>
        </pc:grpChg>
        <pc:grpChg chg="add mod">
          <ac:chgData name="Hendrik Künnemann" userId="42049411-02c5-422c-a22f-150aa89b4dd4" providerId="ADAL" clId="{578E8D60-8950-F04D-98B0-3C702F5FCA63}" dt="2024-05-14T15:38:01.463" v="282" actId="1076"/>
          <ac:grpSpMkLst>
            <pc:docMk/>
            <pc:sldMk cId="3250682429" sldId="310"/>
            <ac:grpSpMk id="37" creationId="{0C24295C-C43C-8B49-454B-9BF7456E5DBB}"/>
          </ac:grpSpMkLst>
        </pc:grpChg>
        <pc:grpChg chg="add mod">
          <ac:chgData name="Hendrik Künnemann" userId="42049411-02c5-422c-a22f-150aa89b4dd4" providerId="ADAL" clId="{578E8D60-8950-F04D-98B0-3C702F5FCA63}" dt="2024-05-14T15:38:01.463" v="282" actId="1076"/>
          <ac:grpSpMkLst>
            <pc:docMk/>
            <pc:sldMk cId="3250682429" sldId="310"/>
            <ac:grpSpMk id="39" creationId="{CB686884-6D37-8472-496F-6F096CC1EF34}"/>
          </ac:grpSpMkLst>
        </pc:grpChg>
        <pc:picChg chg="add mod">
          <ac:chgData name="Hendrik Künnemann" userId="42049411-02c5-422c-a22f-150aa89b4dd4" providerId="ADAL" clId="{578E8D60-8950-F04D-98B0-3C702F5FCA63}" dt="2024-05-14T15:38:42.545" v="285" actId="1076"/>
          <ac:picMkLst>
            <pc:docMk/>
            <pc:sldMk cId="3250682429" sldId="310"/>
            <ac:picMk id="41" creationId="{B00BD151-7B3C-E981-0BAE-94658BE99AA6}"/>
          </ac:picMkLst>
        </pc:picChg>
        <pc:picChg chg="add mod">
          <ac:chgData name="Hendrik Künnemann" userId="42049411-02c5-422c-a22f-150aa89b4dd4" providerId="ADAL" clId="{578E8D60-8950-F04D-98B0-3C702F5FCA63}" dt="2024-05-14T15:38:01.463" v="282" actId="1076"/>
          <ac:picMkLst>
            <pc:docMk/>
            <pc:sldMk cId="3250682429" sldId="310"/>
            <ac:picMk id="1026" creationId="{C476E7D2-24B8-B4F2-1DE2-396B924A3F8D}"/>
          </ac:picMkLst>
        </pc:picChg>
        <pc:picChg chg="add mod">
          <ac:chgData name="Hendrik Künnemann" userId="42049411-02c5-422c-a22f-150aa89b4dd4" providerId="ADAL" clId="{578E8D60-8950-F04D-98B0-3C702F5FCA63}" dt="2024-05-14T15:38:01.463" v="282" actId="1076"/>
          <ac:picMkLst>
            <pc:docMk/>
            <pc:sldMk cId="3250682429" sldId="310"/>
            <ac:picMk id="1028" creationId="{530068FD-6E73-7F45-F4A2-26822A3B2292}"/>
          </ac:picMkLst>
        </pc:picChg>
      </pc:sldChg>
      <pc:sldChg chg="addSp delSp modSp add del mod">
        <pc:chgData name="Hendrik Künnemann" userId="42049411-02c5-422c-a22f-150aa89b4dd4" providerId="ADAL" clId="{578E8D60-8950-F04D-98B0-3C702F5FCA63}" dt="2024-05-15T09:32:48.521" v="2431" actId="2696"/>
        <pc:sldMkLst>
          <pc:docMk/>
          <pc:sldMk cId="2652962837" sldId="311"/>
        </pc:sldMkLst>
        <pc:spChg chg="mod">
          <ac:chgData name="Hendrik Künnemann" userId="42049411-02c5-422c-a22f-150aa89b4dd4" providerId="ADAL" clId="{578E8D60-8950-F04D-98B0-3C702F5FCA63}" dt="2024-05-14T16:00:25.449" v="754" actId="20577"/>
          <ac:spMkLst>
            <pc:docMk/>
            <pc:sldMk cId="2652962837" sldId="311"/>
            <ac:spMk id="2" creationId="{F7857DC1-B240-2014-FF35-005F90715DFD}"/>
          </ac:spMkLst>
        </pc:spChg>
        <pc:spChg chg="mod">
          <ac:chgData name="Hendrik Künnemann" userId="42049411-02c5-422c-a22f-150aa89b4dd4" providerId="ADAL" clId="{578E8D60-8950-F04D-98B0-3C702F5FCA63}" dt="2024-05-14T16:11:59.041" v="900" actId="20577"/>
          <ac:spMkLst>
            <pc:docMk/>
            <pc:sldMk cId="2652962837" sldId="311"/>
            <ac:spMk id="3" creationId="{281105C5-44E1-6128-D52F-2586EB705ADC}"/>
          </ac:spMkLst>
        </pc:spChg>
        <pc:spChg chg="add mod">
          <ac:chgData name="Hendrik Künnemann" userId="42049411-02c5-422c-a22f-150aa89b4dd4" providerId="ADAL" clId="{578E8D60-8950-F04D-98B0-3C702F5FCA63}" dt="2024-05-14T21:58:16.576" v="2128" actId="693"/>
          <ac:spMkLst>
            <pc:docMk/>
            <pc:sldMk cId="2652962837" sldId="311"/>
            <ac:spMk id="5" creationId="{D08B6A33-3B5D-9A34-F351-A0EEB169E683}"/>
          </ac:spMkLst>
        </pc:spChg>
        <pc:spChg chg="add mod">
          <ac:chgData name="Hendrik Künnemann" userId="42049411-02c5-422c-a22f-150aa89b4dd4" providerId="ADAL" clId="{578E8D60-8950-F04D-98B0-3C702F5FCA63}" dt="2024-05-14T21:58:16.576" v="2128" actId="693"/>
          <ac:spMkLst>
            <pc:docMk/>
            <pc:sldMk cId="2652962837" sldId="311"/>
            <ac:spMk id="6" creationId="{0FD10E06-AEDD-CD0A-DCB5-5852256551CE}"/>
          </ac:spMkLst>
        </pc:spChg>
        <pc:spChg chg="add mod">
          <ac:chgData name="Hendrik Künnemann" userId="42049411-02c5-422c-a22f-150aa89b4dd4" providerId="ADAL" clId="{578E8D60-8950-F04D-98B0-3C702F5FCA63}" dt="2024-05-14T21:58:16.576" v="2128" actId="693"/>
          <ac:spMkLst>
            <pc:docMk/>
            <pc:sldMk cId="2652962837" sldId="311"/>
            <ac:spMk id="7" creationId="{355FC294-745B-2A0E-6015-697C6BC28CA3}"/>
          </ac:spMkLst>
        </pc:spChg>
        <pc:spChg chg="add mod">
          <ac:chgData name="Hendrik Künnemann" userId="42049411-02c5-422c-a22f-150aa89b4dd4" providerId="ADAL" clId="{578E8D60-8950-F04D-98B0-3C702F5FCA63}" dt="2024-05-14T21:58:16.576" v="2128" actId="693"/>
          <ac:spMkLst>
            <pc:docMk/>
            <pc:sldMk cId="2652962837" sldId="311"/>
            <ac:spMk id="8" creationId="{A8D0D2B9-3695-994D-36B6-22D82B196A21}"/>
          </ac:spMkLst>
        </pc:spChg>
        <pc:spChg chg="add mod">
          <ac:chgData name="Hendrik Künnemann" userId="42049411-02c5-422c-a22f-150aa89b4dd4" providerId="ADAL" clId="{578E8D60-8950-F04D-98B0-3C702F5FCA63}" dt="2024-05-14T21:58:16.576" v="2128" actId="693"/>
          <ac:spMkLst>
            <pc:docMk/>
            <pc:sldMk cId="2652962837" sldId="311"/>
            <ac:spMk id="9" creationId="{AE8F1897-9E72-9B02-A611-5068DCAD57C3}"/>
          </ac:spMkLst>
        </pc:spChg>
        <pc:spChg chg="add mod">
          <ac:chgData name="Hendrik Künnemann" userId="42049411-02c5-422c-a22f-150aa89b4dd4" providerId="ADAL" clId="{578E8D60-8950-F04D-98B0-3C702F5FCA63}" dt="2024-05-14T21:58:16.576" v="2128" actId="693"/>
          <ac:spMkLst>
            <pc:docMk/>
            <pc:sldMk cId="2652962837" sldId="311"/>
            <ac:spMk id="10" creationId="{F348C231-E24F-889B-A06B-EBF08C471624}"/>
          </ac:spMkLst>
        </pc:spChg>
        <pc:spChg chg="add mod">
          <ac:chgData name="Hendrik Künnemann" userId="42049411-02c5-422c-a22f-150aa89b4dd4" providerId="ADAL" clId="{578E8D60-8950-F04D-98B0-3C702F5FCA63}" dt="2024-05-14T21:58:16.576" v="2128" actId="693"/>
          <ac:spMkLst>
            <pc:docMk/>
            <pc:sldMk cId="2652962837" sldId="311"/>
            <ac:spMk id="11" creationId="{DE3727FB-EE0E-6B29-FDC2-5AC984F964C5}"/>
          </ac:spMkLst>
        </pc:spChg>
        <pc:spChg chg="add mod">
          <ac:chgData name="Hendrik Künnemann" userId="42049411-02c5-422c-a22f-150aa89b4dd4" providerId="ADAL" clId="{578E8D60-8950-F04D-98B0-3C702F5FCA63}" dt="2024-05-14T21:57:08.012" v="2093" actId="164"/>
          <ac:spMkLst>
            <pc:docMk/>
            <pc:sldMk cId="2652962837" sldId="311"/>
            <ac:spMk id="12" creationId="{8883C4DE-EF0F-1F6F-3A18-2F237733F9B2}"/>
          </ac:spMkLst>
        </pc:spChg>
        <pc:spChg chg="del">
          <ac:chgData name="Hendrik Künnemann" userId="42049411-02c5-422c-a22f-150aa89b4dd4" providerId="ADAL" clId="{578E8D60-8950-F04D-98B0-3C702F5FCA63}" dt="2024-05-14T15:36:11.941" v="274" actId="478"/>
          <ac:spMkLst>
            <pc:docMk/>
            <pc:sldMk cId="2652962837" sldId="311"/>
            <ac:spMk id="25" creationId="{12D031E1-BCC9-6A6C-E447-886C99E9219B}"/>
          </ac:spMkLst>
        </pc:spChg>
        <pc:spChg chg="del">
          <ac:chgData name="Hendrik Künnemann" userId="42049411-02c5-422c-a22f-150aa89b4dd4" providerId="ADAL" clId="{578E8D60-8950-F04D-98B0-3C702F5FCA63}" dt="2024-05-14T15:36:11.941" v="274" actId="478"/>
          <ac:spMkLst>
            <pc:docMk/>
            <pc:sldMk cId="2652962837" sldId="311"/>
            <ac:spMk id="26" creationId="{B1BCEB6F-87C1-A1AA-8841-E93859402C9F}"/>
          </ac:spMkLst>
        </pc:spChg>
        <pc:spChg chg="del">
          <ac:chgData name="Hendrik Künnemann" userId="42049411-02c5-422c-a22f-150aa89b4dd4" providerId="ADAL" clId="{578E8D60-8950-F04D-98B0-3C702F5FCA63}" dt="2024-05-14T15:36:11.941" v="274" actId="478"/>
          <ac:spMkLst>
            <pc:docMk/>
            <pc:sldMk cId="2652962837" sldId="311"/>
            <ac:spMk id="32" creationId="{C9396762-2F4F-4182-B719-471EFF50460C}"/>
          </ac:spMkLst>
        </pc:spChg>
        <pc:spChg chg="del">
          <ac:chgData name="Hendrik Künnemann" userId="42049411-02c5-422c-a22f-150aa89b4dd4" providerId="ADAL" clId="{578E8D60-8950-F04D-98B0-3C702F5FCA63}" dt="2024-05-14T15:36:11.941" v="274" actId="478"/>
          <ac:spMkLst>
            <pc:docMk/>
            <pc:sldMk cId="2652962837" sldId="311"/>
            <ac:spMk id="33" creationId="{BF1E37F2-53C6-5945-DECC-F3229F8569E1}"/>
          </ac:spMkLst>
        </pc:spChg>
        <pc:spChg chg="del">
          <ac:chgData name="Hendrik Künnemann" userId="42049411-02c5-422c-a22f-150aa89b4dd4" providerId="ADAL" clId="{578E8D60-8950-F04D-98B0-3C702F5FCA63}" dt="2024-05-14T15:36:11.941" v="274" actId="478"/>
          <ac:spMkLst>
            <pc:docMk/>
            <pc:sldMk cId="2652962837" sldId="311"/>
            <ac:spMk id="35" creationId="{06EFCC93-5283-ABF7-F032-636F4C7ABE75}"/>
          </ac:spMkLst>
        </pc:spChg>
        <pc:spChg chg="del">
          <ac:chgData name="Hendrik Künnemann" userId="42049411-02c5-422c-a22f-150aa89b4dd4" providerId="ADAL" clId="{578E8D60-8950-F04D-98B0-3C702F5FCA63}" dt="2024-05-14T15:41:49.120" v="286" actId="478"/>
          <ac:spMkLst>
            <pc:docMk/>
            <pc:sldMk cId="2652962837" sldId="311"/>
            <ac:spMk id="38" creationId="{7C34C81C-2E6B-C07A-C933-A03FC915262D}"/>
          </ac:spMkLst>
        </pc:spChg>
        <pc:spChg chg="del">
          <ac:chgData name="Hendrik Künnemann" userId="42049411-02c5-422c-a22f-150aa89b4dd4" providerId="ADAL" clId="{578E8D60-8950-F04D-98B0-3C702F5FCA63}" dt="2024-05-14T15:36:13.520" v="275" actId="478"/>
          <ac:spMkLst>
            <pc:docMk/>
            <pc:sldMk cId="2652962837" sldId="311"/>
            <ac:spMk id="40" creationId="{0829BD89-A558-8CFF-948B-D30E476C0424}"/>
          </ac:spMkLst>
        </pc:spChg>
        <pc:grpChg chg="add mod">
          <ac:chgData name="Hendrik Künnemann" userId="42049411-02c5-422c-a22f-150aa89b4dd4" providerId="ADAL" clId="{578E8D60-8950-F04D-98B0-3C702F5FCA63}" dt="2024-05-14T21:57:42.660" v="2123" actId="1036"/>
          <ac:grpSpMkLst>
            <pc:docMk/>
            <pc:sldMk cId="2652962837" sldId="311"/>
            <ac:grpSpMk id="20" creationId="{506A37BE-135F-6F6B-899E-109BC277C564}"/>
          </ac:grpSpMkLst>
        </pc:grpChg>
        <pc:grpChg chg="del">
          <ac:chgData name="Hendrik Künnemann" userId="42049411-02c5-422c-a22f-150aa89b4dd4" providerId="ADAL" clId="{578E8D60-8950-F04D-98B0-3C702F5FCA63}" dt="2024-05-14T15:36:11.941" v="274" actId="478"/>
          <ac:grpSpMkLst>
            <pc:docMk/>
            <pc:sldMk cId="2652962837" sldId="311"/>
            <ac:grpSpMk id="39" creationId="{CB686884-6D37-8472-496F-6F096CC1EF34}"/>
          </ac:grpSpMkLst>
        </pc:grpChg>
        <pc:graphicFrameChg chg="add mod modGraphic">
          <ac:chgData name="Hendrik Künnemann" userId="42049411-02c5-422c-a22f-150aa89b4dd4" providerId="ADAL" clId="{578E8D60-8950-F04D-98B0-3C702F5FCA63}" dt="2024-05-14T21:57:08.012" v="2093" actId="164"/>
          <ac:graphicFrameMkLst>
            <pc:docMk/>
            <pc:sldMk cId="2652962837" sldId="311"/>
            <ac:graphicFrameMk id="4" creationId="{7692AE4C-C6C2-B55F-F5B5-5B3380624963}"/>
          </ac:graphicFrameMkLst>
        </pc:graphicFrameChg>
        <pc:cxnChg chg="add mod">
          <ac:chgData name="Hendrik Künnemann" userId="42049411-02c5-422c-a22f-150aa89b4dd4" providerId="ADAL" clId="{578E8D60-8950-F04D-98B0-3C702F5FCA63}" dt="2024-05-14T21:57:48.125" v="2124" actId="14100"/>
          <ac:cxnSpMkLst>
            <pc:docMk/>
            <pc:sldMk cId="2652962837" sldId="311"/>
            <ac:cxnSpMk id="13" creationId="{48B2C247-EBEA-62DF-3C53-EE7B686A6FF5}"/>
          </ac:cxnSpMkLst>
        </pc:cxnChg>
        <pc:cxnChg chg="add mod">
          <ac:chgData name="Hendrik Künnemann" userId="42049411-02c5-422c-a22f-150aa89b4dd4" providerId="ADAL" clId="{578E8D60-8950-F04D-98B0-3C702F5FCA63}" dt="2024-05-14T21:57:08.012" v="2093" actId="164"/>
          <ac:cxnSpMkLst>
            <pc:docMk/>
            <pc:sldMk cId="2652962837" sldId="311"/>
            <ac:cxnSpMk id="14" creationId="{78517FE9-CD6B-23DD-D3BD-8286BD74F299}"/>
          </ac:cxnSpMkLst>
        </pc:cxnChg>
        <pc:cxnChg chg="add mod">
          <ac:chgData name="Hendrik Künnemann" userId="42049411-02c5-422c-a22f-150aa89b4dd4" providerId="ADAL" clId="{578E8D60-8950-F04D-98B0-3C702F5FCA63}" dt="2024-05-14T21:57:08.012" v="2093" actId="164"/>
          <ac:cxnSpMkLst>
            <pc:docMk/>
            <pc:sldMk cId="2652962837" sldId="311"/>
            <ac:cxnSpMk id="15" creationId="{4F1CD354-3B98-88B4-51DA-11344B0F6787}"/>
          </ac:cxnSpMkLst>
        </pc:cxnChg>
        <pc:cxnChg chg="add mod">
          <ac:chgData name="Hendrik Künnemann" userId="42049411-02c5-422c-a22f-150aa89b4dd4" providerId="ADAL" clId="{578E8D60-8950-F04D-98B0-3C702F5FCA63}" dt="2024-05-14T21:57:08.012" v="2093" actId="164"/>
          <ac:cxnSpMkLst>
            <pc:docMk/>
            <pc:sldMk cId="2652962837" sldId="311"/>
            <ac:cxnSpMk id="16" creationId="{E8A871EC-CD32-B208-48FD-7D8A396C8FE0}"/>
          </ac:cxnSpMkLst>
        </pc:cxnChg>
        <pc:cxnChg chg="add mod">
          <ac:chgData name="Hendrik Künnemann" userId="42049411-02c5-422c-a22f-150aa89b4dd4" providerId="ADAL" clId="{578E8D60-8950-F04D-98B0-3C702F5FCA63}" dt="2024-05-14T21:57:08.012" v="2093" actId="164"/>
          <ac:cxnSpMkLst>
            <pc:docMk/>
            <pc:sldMk cId="2652962837" sldId="311"/>
            <ac:cxnSpMk id="17" creationId="{E9618971-0EC6-5BDC-DDB1-8C85D590F8E9}"/>
          </ac:cxnSpMkLst>
        </pc:cxnChg>
        <pc:cxnChg chg="add mod">
          <ac:chgData name="Hendrik Künnemann" userId="42049411-02c5-422c-a22f-150aa89b4dd4" providerId="ADAL" clId="{578E8D60-8950-F04D-98B0-3C702F5FCA63}" dt="2024-05-14T21:57:08.012" v="2093" actId="164"/>
          <ac:cxnSpMkLst>
            <pc:docMk/>
            <pc:sldMk cId="2652962837" sldId="311"/>
            <ac:cxnSpMk id="18" creationId="{47032E6A-8F41-B589-ED9C-B44F7917E31D}"/>
          </ac:cxnSpMkLst>
        </pc:cxnChg>
        <pc:cxnChg chg="add mod">
          <ac:chgData name="Hendrik Künnemann" userId="42049411-02c5-422c-a22f-150aa89b4dd4" providerId="ADAL" clId="{578E8D60-8950-F04D-98B0-3C702F5FCA63}" dt="2024-05-14T21:57:08.012" v="2093" actId="164"/>
          <ac:cxnSpMkLst>
            <pc:docMk/>
            <pc:sldMk cId="2652962837" sldId="311"/>
            <ac:cxnSpMk id="19" creationId="{E5F0E2BF-AF98-1A70-79FE-10FC68DD9E23}"/>
          </ac:cxnSpMkLst>
        </pc:cxnChg>
      </pc:sldChg>
      <pc:sldChg chg="addSp modSp new mod ord">
        <pc:chgData name="Hendrik Künnemann" userId="42049411-02c5-422c-a22f-150aa89b4dd4" providerId="ADAL" clId="{578E8D60-8950-F04D-98B0-3C702F5FCA63}" dt="2024-05-17T16:50:27.830" v="3164"/>
        <pc:sldMkLst>
          <pc:docMk/>
          <pc:sldMk cId="147093149" sldId="312"/>
        </pc:sldMkLst>
        <pc:spChg chg="mod">
          <ac:chgData name="Hendrik Künnemann" userId="42049411-02c5-422c-a22f-150aa89b4dd4" providerId="ADAL" clId="{578E8D60-8950-F04D-98B0-3C702F5FCA63}" dt="2024-05-14T15:35:56.826" v="251" actId="20577"/>
          <ac:spMkLst>
            <pc:docMk/>
            <pc:sldMk cId="147093149" sldId="312"/>
            <ac:spMk id="2" creationId="{89DFD32D-6508-96B2-E7B9-0B50D3FAB32B}"/>
          </ac:spMkLst>
        </pc:spChg>
        <pc:spChg chg="mod">
          <ac:chgData name="Hendrik Künnemann" userId="42049411-02c5-422c-a22f-150aa89b4dd4" providerId="ADAL" clId="{578E8D60-8950-F04D-98B0-3C702F5FCA63}" dt="2024-05-14T15:36:02.187" v="273" actId="20577"/>
          <ac:spMkLst>
            <pc:docMk/>
            <pc:sldMk cId="147093149" sldId="312"/>
            <ac:spMk id="3" creationId="{6D589C28-4250-EB81-2BF8-21E0B631118C}"/>
          </ac:spMkLst>
        </pc:spChg>
        <pc:spChg chg="add">
          <ac:chgData name="Hendrik Künnemann" userId="42049411-02c5-422c-a22f-150aa89b4dd4" providerId="ADAL" clId="{578E8D60-8950-F04D-98B0-3C702F5FCA63}" dt="2024-05-17T16:50:27.830" v="3164"/>
          <ac:spMkLst>
            <pc:docMk/>
            <pc:sldMk cId="147093149" sldId="312"/>
            <ac:spMk id="23" creationId="{CAB6B5FC-98CB-CA99-6E8F-DF69A7F043A1}"/>
          </ac:spMkLst>
        </pc:spChg>
      </pc:sldChg>
      <pc:sldChg chg="addSp delSp modSp add mod ord">
        <pc:chgData name="Hendrik Künnemann" userId="42049411-02c5-422c-a22f-150aa89b4dd4" providerId="ADAL" clId="{578E8D60-8950-F04D-98B0-3C702F5FCA63}" dt="2024-05-14T17:12:55.800" v="2051" actId="20578"/>
        <pc:sldMkLst>
          <pc:docMk/>
          <pc:sldMk cId="3877959827" sldId="313"/>
        </pc:sldMkLst>
        <pc:spChg chg="mod">
          <ac:chgData name="Hendrik Künnemann" userId="42049411-02c5-422c-a22f-150aa89b4dd4" providerId="ADAL" clId="{578E8D60-8950-F04D-98B0-3C702F5FCA63}" dt="2024-05-14T16:02:07.182" v="798" actId="20577"/>
          <ac:spMkLst>
            <pc:docMk/>
            <pc:sldMk cId="3877959827" sldId="313"/>
            <ac:spMk id="3" creationId="{6D589C28-4250-EB81-2BF8-21E0B631118C}"/>
          </ac:spMkLst>
        </pc:spChg>
        <pc:spChg chg="add del mod">
          <ac:chgData name="Hendrik Künnemann" userId="42049411-02c5-422c-a22f-150aa89b4dd4" providerId="ADAL" clId="{578E8D60-8950-F04D-98B0-3C702F5FCA63}" dt="2024-05-14T16:17:52.844" v="964" actId="478"/>
          <ac:spMkLst>
            <pc:docMk/>
            <pc:sldMk cId="3877959827" sldId="313"/>
            <ac:spMk id="4" creationId="{A504C483-A2AE-1104-2699-8F9233355BC1}"/>
          </ac:spMkLst>
        </pc:spChg>
        <pc:spChg chg="add del mod">
          <ac:chgData name="Hendrik Künnemann" userId="42049411-02c5-422c-a22f-150aa89b4dd4" providerId="ADAL" clId="{578E8D60-8950-F04D-98B0-3C702F5FCA63}" dt="2024-05-14T16:17:52.844" v="964" actId="478"/>
          <ac:spMkLst>
            <pc:docMk/>
            <pc:sldMk cId="3877959827" sldId="313"/>
            <ac:spMk id="5" creationId="{FBA0CDD8-6FAD-86E5-6F8A-73C1982655D1}"/>
          </ac:spMkLst>
        </pc:spChg>
        <pc:spChg chg="add del mod">
          <ac:chgData name="Hendrik Künnemann" userId="42049411-02c5-422c-a22f-150aa89b4dd4" providerId="ADAL" clId="{578E8D60-8950-F04D-98B0-3C702F5FCA63}" dt="2024-05-14T16:17:52.844" v="964" actId="478"/>
          <ac:spMkLst>
            <pc:docMk/>
            <pc:sldMk cId="3877959827" sldId="313"/>
            <ac:spMk id="6" creationId="{696318EB-3850-58BA-D362-D8D48DA522B9}"/>
          </ac:spMkLst>
        </pc:spChg>
        <pc:spChg chg="add del mod">
          <ac:chgData name="Hendrik Künnemann" userId="42049411-02c5-422c-a22f-150aa89b4dd4" providerId="ADAL" clId="{578E8D60-8950-F04D-98B0-3C702F5FCA63}" dt="2024-05-14T16:18:43.441" v="973"/>
          <ac:spMkLst>
            <pc:docMk/>
            <pc:sldMk cId="3877959827" sldId="313"/>
            <ac:spMk id="7" creationId="{7A7F67C5-059B-3C2C-00EB-46CD1309E382}"/>
          </ac:spMkLst>
        </pc:spChg>
        <pc:spChg chg="add del mod">
          <ac:chgData name="Hendrik Künnemann" userId="42049411-02c5-422c-a22f-150aa89b4dd4" providerId="ADAL" clId="{578E8D60-8950-F04D-98B0-3C702F5FCA63}" dt="2024-05-14T16:18:43.441" v="973"/>
          <ac:spMkLst>
            <pc:docMk/>
            <pc:sldMk cId="3877959827" sldId="313"/>
            <ac:spMk id="8" creationId="{39C3929F-2A0B-B47C-395C-5BFBA1160C38}"/>
          </ac:spMkLst>
        </pc:spChg>
        <pc:spChg chg="add del mod">
          <ac:chgData name="Hendrik Künnemann" userId="42049411-02c5-422c-a22f-150aa89b4dd4" providerId="ADAL" clId="{578E8D60-8950-F04D-98B0-3C702F5FCA63}" dt="2024-05-14T16:18:46.106" v="974" actId="478"/>
          <ac:spMkLst>
            <pc:docMk/>
            <pc:sldMk cId="3877959827" sldId="313"/>
            <ac:spMk id="9" creationId="{881095E4-7C9C-7798-DADB-D6F40DA8F08C}"/>
          </ac:spMkLst>
        </pc:spChg>
        <pc:spChg chg="mod">
          <ac:chgData name="Hendrik Künnemann" userId="42049411-02c5-422c-a22f-150aa89b4dd4" providerId="ADAL" clId="{578E8D60-8950-F04D-98B0-3C702F5FCA63}" dt="2024-05-14T16:20:15.584" v="1076" actId="404"/>
          <ac:spMkLst>
            <pc:docMk/>
            <pc:sldMk cId="3877959827" sldId="313"/>
            <ac:spMk id="10" creationId="{3FCE0546-DB51-FC63-C373-D1CA6473D8A7}"/>
          </ac:spMkLst>
        </pc:spChg>
        <pc:spChg chg="add mod">
          <ac:chgData name="Hendrik Künnemann" userId="42049411-02c5-422c-a22f-150aa89b4dd4" providerId="ADAL" clId="{578E8D60-8950-F04D-98B0-3C702F5FCA63}" dt="2024-05-14T16:20:15.584" v="1076" actId="404"/>
          <ac:spMkLst>
            <pc:docMk/>
            <pc:sldMk cId="3877959827" sldId="313"/>
            <ac:spMk id="11" creationId="{356D36F3-38D8-47BD-56A8-98CC8BC741EB}"/>
          </ac:spMkLst>
        </pc:spChg>
        <pc:spChg chg="add mod">
          <ac:chgData name="Hendrik Künnemann" userId="42049411-02c5-422c-a22f-150aa89b4dd4" providerId="ADAL" clId="{578E8D60-8950-F04D-98B0-3C702F5FCA63}" dt="2024-05-14T16:20:15.584" v="1076" actId="404"/>
          <ac:spMkLst>
            <pc:docMk/>
            <pc:sldMk cId="3877959827" sldId="313"/>
            <ac:spMk id="12" creationId="{F4B49C84-5DB7-5A45-B97C-BC8730DC39C6}"/>
          </ac:spMkLst>
        </pc:spChg>
        <pc:spChg chg="add mod">
          <ac:chgData name="Hendrik Künnemann" userId="42049411-02c5-422c-a22f-150aa89b4dd4" providerId="ADAL" clId="{578E8D60-8950-F04D-98B0-3C702F5FCA63}" dt="2024-05-14T16:56:00.553" v="1755" actId="12789"/>
          <ac:spMkLst>
            <pc:docMk/>
            <pc:sldMk cId="3877959827" sldId="313"/>
            <ac:spMk id="13" creationId="{C984B664-59C0-ABAF-9209-50B5E3A8FE05}"/>
          </ac:spMkLst>
        </pc:spChg>
        <pc:spChg chg="add mod">
          <ac:chgData name="Hendrik Künnemann" userId="42049411-02c5-422c-a22f-150aa89b4dd4" providerId="ADAL" clId="{578E8D60-8950-F04D-98B0-3C702F5FCA63}" dt="2024-05-14T16:22:34.027" v="1103" actId="208"/>
          <ac:spMkLst>
            <pc:docMk/>
            <pc:sldMk cId="3877959827" sldId="313"/>
            <ac:spMk id="16" creationId="{214A7FCE-32A5-4210-642A-A56DC9F56020}"/>
          </ac:spMkLst>
        </pc:spChg>
        <pc:spChg chg="add mod">
          <ac:chgData name="Hendrik Künnemann" userId="42049411-02c5-422c-a22f-150aa89b4dd4" providerId="ADAL" clId="{578E8D60-8950-F04D-98B0-3C702F5FCA63}" dt="2024-05-14T16:22:34.027" v="1103" actId="208"/>
          <ac:spMkLst>
            <pc:docMk/>
            <pc:sldMk cId="3877959827" sldId="313"/>
            <ac:spMk id="17" creationId="{16DA810B-1155-B9FC-CD24-271B8952FEF0}"/>
          </ac:spMkLst>
        </pc:spChg>
        <pc:spChg chg="add mod topLvl">
          <ac:chgData name="Hendrik Künnemann" userId="42049411-02c5-422c-a22f-150aa89b4dd4" providerId="ADAL" clId="{578E8D60-8950-F04D-98B0-3C702F5FCA63}" dt="2024-05-14T16:56:31.375" v="1771" actId="404"/>
          <ac:spMkLst>
            <pc:docMk/>
            <pc:sldMk cId="3877959827" sldId="313"/>
            <ac:spMk id="20" creationId="{EC11536F-B235-66B6-401A-AC1B4AAE43AC}"/>
          </ac:spMkLst>
        </pc:spChg>
        <pc:spChg chg="add mod topLvl">
          <ac:chgData name="Hendrik Künnemann" userId="42049411-02c5-422c-a22f-150aa89b4dd4" providerId="ADAL" clId="{578E8D60-8950-F04D-98B0-3C702F5FCA63}" dt="2024-05-14T16:56:31.375" v="1771" actId="404"/>
          <ac:spMkLst>
            <pc:docMk/>
            <pc:sldMk cId="3877959827" sldId="313"/>
            <ac:spMk id="21" creationId="{1A897ED0-800B-ADD6-B6DF-B1889AB42BC4}"/>
          </ac:spMkLst>
        </pc:spChg>
        <pc:spChg chg="add mod topLvl">
          <ac:chgData name="Hendrik Künnemann" userId="42049411-02c5-422c-a22f-150aa89b4dd4" providerId="ADAL" clId="{578E8D60-8950-F04D-98B0-3C702F5FCA63}" dt="2024-05-14T16:56:31.375" v="1771" actId="404"/>
          <ac:spMkLst>
            <pc:docMk/>
            <pc:sldMk cId="3877959827" sldId="313"/>
            <ac:spMk id="22" creationId="{784D6A02-CCA7-0CCF-635B-BA52C9F9622E}"/>
          </ac:spMkLst>
        </pc:spChg>
        <pc:spChg chg="add mod topLvl">
          <ac:chgData name="Hendrik Künnemann" userId="42049411-02c5-422c-a22f-150aa89b4dd4" providerId="ADAL" clId="{578E8D60-8950-F04D-98B0-3C702F5FCA63}" dt="2024-05-14T16:56:31.375" v="1771" actId="404"/>
          <ac:spMkLst>
            <pc:docMk/>
            <pc:sldMk cId="3877959827" sldId="313"/>
            <ac:spMk id="23" creationId="{E113A012-C7BC-A654-B6CF-0BF856FF253C}"/>
          </ac:spMkLst>
        </pc:spChg>
        <pc:spChg chg="add mod topLvl">
          <ac:chgData name="Hendrik Künnemann" userId="42049411-02c5-422c-a22f-150aa89b4dd4" providerId="ADAL" clId="{578E8D60-8950-F04D-98B0-3C702F5FCA63}" dt="2024-05-14T16:56:31.375" v="1771" actId="404"/>
          <ac:spMkLst>
            <pc:docMk/>
            <pc:sldMk cId="3877959827" sldId="313"/>
            <ac:spMk id="24" creationId="{1E7D5AAF-4CBA-9546-8C8B-3142C2188970}"/>
          </ac:spMkLst>
        </pc:spChg>
        <pc:spChg chg="add mod topLvl">
          <ac:chgData name="Hendrik Künnemann" userId="42049411-02c5-422c-a22f-150aa89b4dd4" providerId="ADAL" clId="{578E8D60-8950-F04D-98B0-3C702F5FCA63}" dt="2024-05-14T16:56:31.375" v="1771" actId="404"/>
          <ac:spMkLst>
            <pc:docMk/>
            <pc:sldMk cId="3877959827" sldId="313"/>
            <ac:spMk id="25" creationId="{B5FB5617-B2C9-7E9E-78A0-EE8A24E814BC}"/>
          </ac:spMkLst>
        </pc:spChg>
        <pc:spChg chg="add mod topLvl">
          <ac:chgData name="Hendrik Künnemann" userId="42049411-02c5-422c-a22f-150aa89b4dd4" providerId="ADAL" clId="{578E8D60-8950-F04D-98B0-3C702F5FCA63}" dt="2024-05-14T16:58:58.068" v="1780" actId="207"/>
          <ac:spMkLst>
            <pc:docMk/>
            <pc:sldMk cId="3877959827" sldId="313"/>
            <ac:spMk id="26" creationId="{128D80F6-CAAB-C845-A69E-8CD3C27D04E0}"/>
          </ac:spMkLst>
        </pc:spChg>
        <pc:spChg chg="add mod topLvl">
          <ac:chgData name="Hendrik Künnemann" userId="42049411-02c5-422c-a22f-150aa89b4dd4" providerId="ADAL" clId="{578E8D60-8950-F04D-98B0-3C702F5FCA63}" dt="2024-05-14T16:56:31.375" v="1771" actId="404"/>
          <ac:spMkLst>
            <pc:docMk/>
            <pc:sldMk cId="3877959827" sldId="313"/>
            <ac:spMk id="27" creationId="{951B1FEB-6B8A-87F5-065A-6AA290D55316}"/>
          </ac:spMkLst>
        </pc:spChg>
        <pc:spChg chg="add mod topLvl">
          <ac:chgData name="Hendrik Künnemann" userId="42049411-02c5-422c-a22f-150aa89b4dd4" providerId="ADAL" clId="{578E8D60-8950-F04D-98B0-3C702F5FCA63}" dt="2024-05-14T16:56:31.375" v="1771" actId="404"/>
          <ac:spMkLst>
            <pc:docMk/>
            <pc:sldMk cId="3877959827" sldId="313"/>
            <ac:spMk id="28" creationId="{86E395B4-55EC-982B-40C1-06E20B25F669}"/>
          </ac:spMkLst>
        </pc:spChg>
        <pc:spChg chg="add mod topLvl">
          <ac:chgData name="Hendrik Künnemann" userId="42049411-02c5-422c-a22f-150aa89b4dd4" providerId="ADAL" clId="{578E8D60-8950-F04D-98B0-3C702F5FCA63}" dt="2024-05-14T16:56:31.375" v="1771" actId="404"/>
          <ac:spMkLst>
            <pc:docMk/>
            <pc:sldMk cId="3877959827" sldId="313"/>
            <ac:spMk id="29" creationId="{72920A7D-251B-AF3F-269F-775C001B301E}"/>
          </ac:spMkLst>
        </pc:spChg>
        <pc:spChg chg="add mod">
          <ac:chgData name="Hendrik Künnemann" userId="42049411-02c5-422c-a22f-150aa89b4dd4" providerId="ADAL" clId="{578E8D60-8950-F04D-98B0-3C702F5FCA63}" dt="2024-05-14T16:49:55.754" v="1708" actId="1076"/>
          <ac:spMkLst>
            <pc:docMk/>
            <pc:sldMk cId="3877959827" sldId="313"/>
            <ac:spMk id="36" creationId="{1C78D40F-ADA3-7483-C297-9E3F818B7150}"/>
          </ac:spMkLst>
        </pc:spChg>
        <pc:spChg chg="add mod">
          <ac:chgData name="Hendrik Künnemann" userId="42049411-02c5-422c-a22f-150aa89b4dd4" providerId="ADAL" clId="{578E8D60-8950-F04D-98B0-3C702F5FCA63}" dt="2024-05-14T16:49:43.960" v="1707" actId="207"/>
          <ac:spMkLst>
            <pc:docMk/>
            <pc:sldMk cId="3877959827" sldId="313"/>
            <ac:spMk id="37" creationId="{0E9849AE-6C51-E672-EE5E-CFAB10E0E99D}"/>
          </ac:spMkLst>
        </pc:spChg>
        <pc:spChg chg="add mod">
          <ac:chgData name="Hendrik Künnemann" userId="42049411-02c5-422c-a22f-150aa89b4dd4" providerId="ADAL" clId="{578E8D60-8950-F04D-98B0-3C702F5FCA63}" dt="2024-05-14T16:48:34.733" v="1699" actId="2085"/>
          <ac:spMkLst>
            <pc:docMk/>
            <pc:sldMk cId="3877959827" sldId="313"/>
            <ac:spMk id="38" creationId="{F181EBAF-6150-40B4-0240-904ABDF594F9}"/>
          </ac:spMkLst>
        </pc:spChg>
        <pc:spChg chg="add mod">
          <ac:chgData name="Hendrik Künnemann" userId="42049411-02c5-422c-a22f-150aa89b4dd4" providerId="ADAL" clId="{578E8D60-8950-F04D-98B0-3C702F5FCA63}" dt="2024-05-14T16:48:34.733" v="1699" actId="2085"/>
          <ac:spMkLst>
            <pc:docMk/>
            <pc:sldMk cId="3877959827" sldId="313"/>
            <ac:spMk id="39" creationId="{4EA17591-65D7-43A0-A2C0-510C740A2CAC}"/>
          </ac:spMkLst>
        </pc:spChg>
        <pc:spChg chg="add mod">
          <ac:chgData name="Hendrik Künnemann" userId="42049411-02c5-422c-a22f-150aa89b4dd4" providerId="ADAL" clId="{578E8D60-8950-F04D-98B0-3C702F5FCA63}" dt="2024-05-14T16:48:34.733" v="1699" actId="2085"/>
          <ac:spMkLst>
            <pc:docMk/>
            <pc:sldMk cId="3877959827" sldId="313"/>
            <ac:spMk id="40" creationId="{E9A43138-DA39-9F0A-BBBA-5B65A52B272F}"/>
          </ac:spMkLst>
        </pc:spChg>
        <pc:spChg chg="add mod">
          <ac:chgData name="Hendrik Künnemann" userId="42049411-02c5-422c-a22f-150aa89b4dd4" providerId="ADAL" clId="{578E8D60-8950-F04D-98B0-3C702F5FCA63}" dt="2024-05-14T16:44:50.641" v="1624" actId="571"/>
          <ac:spMkLst>
            <pc:docMk/>
            <pc:sldMk cId="3877959827" sldId="313"/>
            <ac:spMk id="41" creationId="{DF4B9101-118E-19B6-C9CD-03912D38166A}"/>
          </ac:spMkLst>
        </pc:spChg>
        <pc:spChg chg="add mod">
          <ac:chgData name="Hendrik Künnemann" userId="42049411-02c5-422c-a22f-150aa89b4dd4" providerId="ADAL" clId="{578E8D60-8950-F04D-98B0-3C702F5FCA63}" dt="2024-05-14T16:44:50.641" v="1624" actId="571"/>
          <ac:spMkLst>
            <pc:docMk/>
            <pc:sldMk cId="3877959827" sldId="313"/>
            <ac:spMk id="42" creationId="{5F5A3EE9-A29F-005E-124B-04D91918B961}"/>
          </ac:spMkLst>
        </pc:spChg>
        <pc:spChg chg="add mod">
          <ac:chgData name="Hendrik Künnemann" userId="42049411-02c5-422c-a22f-150aa89b4dd4" providerId="ADAL" clId="{578E8D60-8950-F04D-98B0-3C702F5FCA63}" dt="2024-05-14T16:48:34.733" v="1699" actId="2085"/>
          <ac:spMkLst>
            <pc:docMk/>
            <pc:sldMk cId="3877959827" sldId="313"/>
            <ac:spMk id="43" creationId="{3F5FEA69-EAF6-CB82-FE60-84F206D78477}"/>
          </ac:spMkLst>
        </pc:spChg>
        <pc:spChg chg="add mod">
          <ac:chgData name="Hendrik Künnemann" userId="42049411-02c5-422c-a22f-150aa89b4dd4" providerId="ADAL" clId="{578E8D60-8950-F04D-98B0-3C702F5FCA63}" dt="2024-05-14T16:48:34.733" v="1699" actId="2085"/>
          <ac:spMkLst>
            <pc:docMk/>
            <pc:sldMk cId="3877959827" sldId="313"/>
            <ac:spMk id="44" creationId="{7B5206EB-01ED-56D7-D57E-0CC6AC2C391A}"/>
          </ac:spMkLst>
        </pc:spChg>
        <pc:spChg chg="add mod">
          <ac:chgData name="Hendrik Künnemann" userId="42049411-02c5-422c-a22f-150aa89b4dd4" providerId="ADAL" clId="{578E8D60-8950-F04D-98B0-3C702F5FCA63}" dt="2024-05-14T16:48:34.733" v="1699" actId="2085"/>
          <ac:spMkLst>
            <pc:docMk/>
            <pc:sldMk cId="3877959827" sldId="313"/>
            <ac:spMk id="45" creationId="{DEF62313-D269-45F8-2069-88CE6BACFB46}"/>
          </ac:spMkLst>
        </pc:spChg>
        <pc:spChg chg="add mod">
          <ac:chgData name="Hendrik Künnemann" userId="42049411-02c5-422c-a22f-150aa89b4dd4" providerId="ADAL" clId="{578E8D60-8950-F04D-98B0-3C702F5FCA63}" dt="2024-05-14T16:56:31.375" v="1771" actId="404"/>
          <ac:spMkLst>
            <pc:docMk/>
            <pc:sldMk cId="3877959827" sldId="313"/>
            <ac:spMk id="63" creationId="{FDFE857B-EFC3-48F1-7045-6186010921A9}"/>
          </ac:spMkLst>
        </pc:spChg>
        <pc:spChg chg="add mod">
          <ac:chgData name="Hendrik Künnemann" userId="42049411-02c5-422c-a22f-150aa89b4dd4" providerId="ADAL" clId="{578E8D60-8950-F04D-98B0-3C702F5FCA63}" dt="2024-05-14T16:56:38.976" v="1772" actId="20577"/>
          <ac:spMkLst>
            <pc:docMk/>
            <pc:sldMk cId="3877959827" sldId="313"/>
            <ac:spMk id="64" creationId="{04DABA54-0304-B01B-612E-7FAC1706426E}"/>
          </ac:spMkLst>
        </pc:spChg>
        <pc:grpChg chg="add del mod topLvl">
          <ac:chgData name="Hendrik Künnemann" userId="42049411-02c5-422c-a22f-150aa89b4dd4" providerId="ADAL" clId="{578E8D60-8950-F04D-98B0-3C702F5FCA63}" dt="2024-05-14T16:30:23.529" v="1193" actId="165"/>
          <ac:grpSpMkLst>
            <pc:docMk/>
            <pc:sldMk cId="3877959827" sldId="313"/>
            <ac:grpSpMk id="30" creationId="{9C563B94-7855-0ED7-C587-7405CAA81CB7}"/>
          </ac:grpSpMkLst>
        </pc:grpChg>
        <pc:grpChg chg="add del mod topLvl">
          <ac:chgData name="Hendrik Künnemann" userId="42049411-02c5-422c-a22f-150aa89b4dd4" providerId="ADAL" clId="{578E8D60-8950-F04D-98B0-3C702F5FCA63}" dt="2024-05-14T16:30:23.529" v="1193" actId="165"/>
          <ac:grpSpMkLst>
            <pc:docMk/>
            <pc:sldMk cId="3877959827" sldId="313"/>
            <ac:grpSpMk id="31" creationId="{0DFF28AB-93B3-C51F-B531-A0827CFB0269}"/>
          </ac:grpSpMkLst>
        </pc:grpChg>
        <pc:grpChg chg="add del mod topLvl">
          <ac:chgData name="Hendrik Künnemann" userId="42049411-02c5-422c-a22f-150aa89b4dd4" providerId="ADAL" clId="{578E8D60-8950-F04D-98B0-3C702F5FCA63}" dt="2024-05-14T16:30:23.529" v="1193" actId="165"/>
          <ac:grpSpMkLst>
            <pc:docMk/>
            <pc:sldMk cId="3877959827" sldId="313"/>
            <ac:grpSpMk id="32" creationId="{D3BF8E71-645E-34B8-B5B3-8BEA47C42272}"/>
          </ac:grpSpMkLst>
        </pc:grpChg>
        <pc:grpChg chg="add del mod topLvl">
          <ac:chgData name="Hendrik Künnemann" userId="42049411-02c5-422c-a22f-150aa89b4dd4" providerId="ADAL" clId="{578E8D60-8950-F04D-98B0-3C702F5FCA63}" dt="2024-05-14T16:30:23.529" v="1193" actId="165"/>
          <ac:grpSpMkLst>
            <pc:docMk/>
            <pc:sldMk cId="3877959827" sldId="313"/>
            <ac:grpSpMk id="33" creationId="{C9CF10F4-420F-F5E7-D265-4EAB61CD8400}"/>
          </ac:grpSpMkLst>
        </pc:grpChg>
        <pc:grpChg chg="add del mod">
          <ac:chgData name="Hendrik Künnemann" userId="42049411-02c5-422c-a22f-150aa89b4dd4" providerId="ADAL" clId="{578E8D60-8950-F04D-98B0-3C702F5FCA63}" dt="2024-05-14T16:30:21.884" v="1192" actId="165"/>
          <ac:grpSpMkLst>
            <pc:docMk/>
            <pc:sldMk cId="3877959827" sldId="313"/>
            <ac:grpSpMk id="34" creationId="{620064D6-00C7-D1E5-9A78-694FE3DD91D6}"/>
          </ac:grpSpMkLst>
        </pc:grpChg>
        <pc:grpChg chg="add mod">
          <ac:chgData name="Hendrik Künnemann" userId="42049411-02c5-422c-a22f-150aa89b4dd4" providerId="ADAL" clId="{578E8D60-8950-F04D-98B0-3C702F5FCA63}" dt="2024-05-14T16:56:00.553" v="1755" actId="12789"/>
          <ac:grpSpMkLst>
            <pc:docMk/>
            <pc:sldMk cId="3877959827" sldId="313"/>
            <ac:grpSpMk id="65" creationId="{3C921E1A-AF8B-5108-6004-0B4FE9CFF828}"/>
          </ac:grpSpMkLst>
        </pc:grpChg>
        <pc:graphicFrameChg chg="add del mod modGraphic">
          <ac:chgData name="Hendrik Künnemann" userId="42049411-02c5-422c-a22f-150aa89b4dd4" providerId="ADAL" clId="{578E8D60-8950-F04D-98B0-3C702F5FCA63}" dt="2024-05-14T16:24:47.927" v="1115" actId="478"/>
          <ac:graphicFrameMkLst>
            <pc:docMk/>
            <pc:sldMk cId="3877959827" sldId="313"/>
            <ac:graphicFrameMk id="18" creationId="{9100B33A-F9A8-B079-3853-A71628A0129B}"/>
          </ac:graphicFrameMkLst>
        </pc:graphicFrameChg>
        <pc:graphicFrameChg chg="add del mod modGraphic">
          <ac:chgData name="Hendrik Künnemann" userId="42049411-02c5-422c-a22f-150aa89b4dd4" providerId="ADAL" clId="{578E8D60-8950-F04D-98B0-3C702F5FCA63}" dt="2024-05-14T16:26:15.696" v="1151" actId="478"/>
          <ac:graphicFrameMkLst>
            <pc:docMk/>
            <pc:sldMk cId="3877959827" sldId="313"/>
            <ac:graphicFrameMk id="19" creationId="{56D59BDC-8D87-8203-DDA6-919E036D15C8}"/>
          </ac:graphicFrameMkLst>
        </pc:graphicFrameChg>
        <pc:graphicFrameChg chg="add mod modGraphic">
          <ac:chgData name="Hendrik Künnemann" userId="42049411-02c5-422c-a22f-150aa89b4dd4" providerId="ADAL" clId="{578E8D60-8950-F04D-98B0-3C702F5FCA63}" dt="2024-05-14T16:42:23.655" v="1597" actId="1035"/>
          <ac:graphicFrameMkLst>
            <pc:docMk/>
            <pc:sldMk cId="3877959827" sldId="313"/>
            <ac:graphicFrameMk id="35" creationId="{E8E9EFC1-664E-BCF3-893B-89CAC2AED58A}"/>
          </ac:graphicFrameMkLst>
        </pc:graphicFrameChg>
        <pc:graphicFrameChg chg="add mod modGraphic">
          <ac:chgData name="Hendrik Künnemann" userId="42049411-02c5-422c-a22f-150aa89b4dd4" providerId="ADAL" clId="{578E8D60-8950-F04D-98B0-3C702F5FCA63}" dt="2024-05-14T17:10:12.192" v="2049" actId="693"/>
          <ac:graphicFrameMkLst>
            <pc:docMk/>
            <pc:sldMk cId="3877959827" sldId="313"/>
            <ac:graphicFrameMk id="66" creationId="{6D45BFD8-B96F-4547-3B92-95A1B8B0716D}"/>
          </ac:graphicFrameMkLst>
        </pc:graphicFrameChg>
        <pc:cxnChg chg="add del">
          <ac:chgData name="Hendrik Künnemann" userId="42049411-02c5-422c-a22f-150aa89b4dd4" providerId="ADAL" clId="{578E8D60-8950-F04D-98B0-3C702F5FCA63}" dt="2024-05-14T16:21:16.893" v="1092" actId="478"/>
          <ac:cxnSpMkLst>
            <pc:docMk/>
            <pc:sldMk cId="3877959827" sldId="313"/>
            <ac:cxnSpMk id="15" creationId="{DFE3C951-35E6-B6D2-F7DF-6B68A3B3F076}"/>
          </ac:cxnSpMkLst>
        </pc:cxnChg>
        <pc:cxnChg chg="add mod">
          <ac:chgData name="Hendrik Künnemann" userId="42049411-02c5-422c-a22f-150aa89b4dd4" providerId="ADAL" clId="{578E8D60-8950-F04D-98B0-3C702F5FCA63}" dt="2024-05-14T16:48:52.105" v="1700" actId="14100"/>
          <ac:cxnSpMkLst>
            <pc:docMk/>
            <pc:sldMk cId="3877959827" sldId="313"/>
            <ac:cxnSpMk id="47" creationId="{EB8F67BF-31D8-A431-C641-593D46083DD0}"/>
          </ac:cxnSpMkLst>
        </pc:cxnChg>
        <pc:cxnChg chg="add mod">
          <ac:chgData name="Hendrik Künnemann" userId="42049411-02c5-422c-a22f-150aa89b4dd4" providerId="ADAL" clId="{578E8D60-8950-F04D-98B0-3C702F5FCA63}" dt="2024-05-14T16:48:59.436" v="1701" actId="14100"/>
          <ac:cxnSpMkLst>
            <pc:docMk/>
            <pc:sldMk cId="3877959827" sldId="313"/>
            <ac:cxnSpMk id="48" creationId="{22E66BD4-936F-9369-9787-8849DF3C3AE2}"/>
          </ac:cxnSpMkLst>
        </pc:cxnChg>
        <pc:cxnChg chg="add mod">
          <ac:chgData name="Hendrik Künnemann" userId="42049411-02c5-422c-a22f-150aa89b4dd4" providerId="ADAL" clId="{578E8D60-8950-F04D-98B0-3C702F5FCA63}" dt="2024-05-14T16:49:06.741" v="1703" actId="14100"/>
          <ac:cxnSpMkLst>
            <pc:docMk/>
            <pc:sldMk cId="3877959827" sldId="313"/>
            <ac:cxnSpMk id="49" creationId="{462A5214-2A29-7FC7-106B-932CC096AF36}"/>
          </ac:cxnSpMkLst>
        </pc:cxnChg>
        <pc:cxnChg chg="add mod">
          <ac:chgData name="Hendrik Künnemann" userId="42049411-02c5-422c-a22f-150aa89b4dd4" providerId="ADAL" clId="{578E8D60-8950-F04D-98B0-3C702F5FCA63}" dt="2024-05-14T16:49:10.928" v="1704" actId="14100"/>
          <ac:cxnSpMkLst>
            <pc:docMk/>
            <pc:sldMk cId="3877959827" sldId="313"/>
            <ac:cxnSpMk id="50" creationId="{D53FAD4D-F919-B385-4875-7A3C94F6C87E}"/>
          </ac:cxnSpMkLst>
        </pc:cxnChg>
        <pc:cxnChg chg="add mod">
          <ac:chgData name="Hendrik Künnemann" userId="42049411-02c5-422c-a22f-150aa89b4dd4" providerId="ADAL" clId="{578E8D60-8950-F04D-98B0-3C702F5FCA63}" dt="2024-05-14T16:49:16.587" v="1706" actId="14100"/>
          <ac:cxnSpMkLst>
            <pc:docMk/>
            <pc:sldMk cId="3877959827" sldId="313"/>
            <ac:cxnSpMk id="51" creationId="{8591E552-D0D2-F463-B89E-BEC09869D30B}"/>
          </ac:cxnSpMkLst>
        </pc:cxnChg>
      </pc:sldChg>
      <pc:sldChg chg="addSp delSp modSp add mod">
        <pc:chgData name="Hendrik Künnemann" userId="42049411-02c5-422c-a22f-150aa89b4dd4" providerId="ADAL" clId="{578E8D60-8950-F04D-98B0-3C702F5FCA63}" dt="2024-05-17T15:29:51.955" v="2989" actId="1037"/>
        <pc:sldMkLst>
          <pc:docMk/>
          <pc:sldMk cId="604316788" sldId="314"/>
        </pc:sldMkLst>
        <pc:spChg chg="mod">
          <ac:chgData name="Hendrik Künnemann" userId="42049411-02c5-422c-a22f-150aa89b4dd4" providerId="ADAL" clId="{578E8D60-8950-F04D-98B0-3C702F5FCA63}" dt="2024-05-14T17:13:00.550" v="2058" actId="20577"/>
          <ac:spMkLst>
            <pc:docMk/>
            <pc:sldMk cId="604316788" sldId="314"/>
            <ac:spMk id="2" creationId="{89DFD32D-6508-96B2-E7B9-0B50D3FAB32B}"/>
          </ac:spMkLst>
        </pc:spChg>
        <pc:spChg chg="mod">
          <ac:chgData name="Hendrik Künnemann" userId="42049411-02c5-422c-a22f-150aa89b4dd4" providerId="ADAL" clId="{578E8D60-8950-F04D-98B0-3C702F5FCA63}" dt="2024-05-14T17:13:10.610" v="2087" actId="20577"/>
          <ac:spMkLst>
            <pc:docMk/>
            <pc:sldMk cId="604316788" sldId="314"/>
            <ac:spMk id="3" creationId="{6D589C28-4250-EB81-2BF8-21E0B631118C}"/>
          </ac:spMkLst>
        </pc:spChg>
        <pc:picChg chg="add del mod">
          <ac:chgData name="Hendrik Künnemann" userId="42049411-02c5-422c-a22f-150aa89b4dd4" providerId="ADAL" clId="{578E8D60-8950-F04D-98B0-3C702F5FCA63}" dt="2024-05-17T15:29:01.579" v="2985" actId="478"/>
          <ac:picMkLst>
            <pc:docMk/>
            <pc:sldMk cId="604316788" sldId="314"/>
            <ac:picMk id="4" creationId="{0EFA367D-F766-8E77-8833-BF71B117399C}"/>
          </ac:picMkLst>
        </pc:picChg>
        <pc:picChg chg="mod">
          <ac:chgData name="Hendrik Künnemann" userId="42049411-02c5-422c-a22f-150aa89b4dd4" providerId="ADAL" clId="{578E8D60-8950-F04D-98B0-3C702F5FCA63}" dt="2024-05-17T15:29:51.955" v="2989" actId="1037"/>
          <ac:picMkLst>
            <pc:docMk/>
            <pc:sldMk cId="604316788" sldId="314"/>
            <ac:picMk id="13" creationId="{CBBB806B-F267-BADB-F311-7322D1ABB6B8}"/>
          </ac:picMkLst>
        </pc:picChg>
      </pc:sldChg>
      <pc:sldChg chg="addSp delSp modSp add mod">
        <pc:chgData name="Hendrik Künnemann" userId="42049411-02c5-422c-a22f-150aa89b4dd4" providerId="ADAL" clId="{578E8D60-8950-F04D-98B0-3C702F5FCA63}" dt="2024-05-14T22:19:30.052" v="2430" actId="207"/>
        <pc:sldMkLst>
          <pc:docMk/>
          <pc:sldMk cId="378897943" sldId="315"/>
        </pc:sldMkLst>
        <pc:spChg chg="del">
          <ac:chgData name="Hendrik Künnemann" userId="42049411-02c5-422c-a22f-150aa89b4dd4" providerId="ADAL" clId="{578E8D60-8950-F04D-98B0-3C702F5FCA63}" dt="2024-05-14T22:00:13.798" v="2130" actId="478"/>
          <ac:spMkLst>
            <pc:docMk/>
            <pc:sldMk cId="378897943" sldId="315"/>
            <ac:spMk id="5" creationId="{D08B6A33-3B5D-9A34-F351-A0EEB169E683}"/>
          </ac:spMkLst>
        </pc:spChg>
        <pc:spChg chg="del">
          <ac:chgData name="Hendrik Künnemann" userId="42049411-02c5-422c-a22f-150aa89b4dd4" providerId="ADAL" clId="{578E8D60-8950-F04D-98B0-3C702F5FCA63}" dt="2024-05-14T22:00:13.798" v="2130" actId="478"/>
          <ac:spMkLst>
            <pc:docMk/>
            <pc:sldMk cId="378897943" sldId="315"/>
            <ac:spMk id="6" creationId="{0FD10E06-AEDD-CD0A-DCB5-5852256551CE}"/>
          </ac:spMkLst>
        </pc:spChg>
        <pc:spChg chg="del">
          <ac:chgData name="Hendrik Künnemann" userId="42049411-02c5-422c-a22f-150aa89b4dd4" providerId="ADAL" clId="{578E8D60-8950-F04D-98B0-3C702F5FCA63}" dt="2024-05-14T22:00:13.798" v="2130" actId="478"/>
          <ac:spMkLst>
            <pc:docMk/>
            <pc:sldMk cId="378897943" sldId="315"/>
            <ac:spMk id="7" creationId="{355FC294-745B-2A0E-6015-697C6BC28CA3}"/>
          </ac:spMkLst>
        </pc:spChg>
        <pc:spChg chg="del">
          <ac:chgData name="Hendrik Künnemann" userId="42049411-02c5-422c-a22f-150aa89b4dd4" providerId="ADAL" clId="{578E8D60-8950-F04D-98B0-3C702F5FCA63}" dt="2024-05-14T22:00:13.798" v="2130" actId="478"/>
          <ac:spMkLst>
            <pc:docMk/>
            <pc:sldMk cId="378897943" sldId="315"/>
            <ac:spMk id="8" creationId="{A8D0D2B9-3695-994D-36B6-22D82B196A21}"/>
          </ac:spMkLst>
        </pc:spChg>
        <pc:spChg chg="del">
          <ac:chgData name="Hendrik Künnemann" userId="42049411-02c5-422c-a22f-150aa89b4dd4" providerId="ADAL" clId="{578E8D60-8950-F04D-98B0-3C702F5FCA63}" dt="2024-05-14T22:00:13.798" v="2130" actId="478"/>
          <ac:spMkLst>
            <pc:docMk/>
            <pc:sldMk cId="378897943" sldId="315"/>
            <ac:spMk id="9" creationId="{AE8F1897-9E72-9B02-A611-5068DCAD57C3}"/>
          </ac:spMkLst>
        </pc:spChg>
        <pc:spChg chg="del">
          <ac:chgData name="Hendrik Künnemann" userId="42049411-02c5-422c-a22f-150aa89b4dd4" providerId="ADAL" clId="{578E8D60-8950-F04D-98B0-3C702F5FCA63}" dt="2024-05-14T22:00:13.798" v="2130" actId="478"/>
          <ac:spMkLst>
            <pc:docMk/>
            <pc:sldMk cId="378897943" sldId="315"/>
            <ac:spMk id="10" creationId="{F348C231-E24F-889B-A06B-EBF08C471624}"/>
          </ac:spMkLst>
        </pc:spChg>
        <pc:spChg chg="del">
          <ac:chgData name="Hendrik Künnemann" userId="42049411-02c5-422c-a22f-150aa89b4dd4" providerId="ADAL" clId="{578E8D60-8950-F04D-98B0-3C702F5FCA63}" dt="2024-05-14T22:00:13.798" v="2130" actId="478"/>
          <ac:spMkLst>
            <pc:docMk/>
            <pc:sldMk cId="378897943" sldId="315"/>
            <ac:spMk id="11" creationId="{DE3727FB-EE0E-6B29-FDC2-5AC984F964C5}"/>
          </ac:spMkLst>
        </pc:spChg>
        <pc:spChg chg="add del mod">
          <ac:chgData name="Hendrik Künnemann" userId="42049411-02c5-422c-a22f-150aa89b4dd4" providerId="ADAL" clId="{578E8D60-8950-F04D-98B0-3C702F5FCA63}" dt="2024-05-14T22:06:53.816" v="2224" actId="478"/>
          <ac:spMkLst>
            <pc:docMk/>
            <pc:sldMk cId="378897943" sldId="315"/>
            <ac:spMk id="21" creationId="{F010DF3D-84B5-2DE7-7AE0-3F5DD2FDD9DB}"/>
          </ac:spMkLst>
        </pc:spChg>
        <pc:spChg chg="add del mod">
          <ac:chgData name="Hendrik Künnemann" userId="42049411-02c5-422c-a22f-150aa89b4dd4" providerId="ADAL" clId="{578E8D60-8950-F04D-98B0-3C702F5FCA63}" dt="2024-05-14T22:06:53.816" v="2224" actId="478"/>
          <ac:spMkLst>
            <pc:docMk/>
            <pc:sldMk cId="378897943" sldId="315"/>
            <ac:spMk id="22" creationId="{611E0B4E-B840-F3E6-A8B5-AAD8675498FD}"/>
          </ac:spMkLst>
        </pc:spChg>
        <pc:spChg chg="add del mod">
          <ac:chgData name="Hendrik Künnemann" userId="42049411-02c5-422c-a22f-150aa89b4dd4" providerId="ADAL" clId="{578E8D60-8950-F04D-98B0-3C702F5FCA63}" dt="2024-05-14T22:06:53.816" v="2224" actId="478"/>
          <ac:spMkLst>
            <pc:docMk/>
            <pc:sldMk cId="378897943" sldId="315"/>
            <ac:spMk id="23" creationId="{ACD1B2BF-AE43-5A9D-3FEF-970AFB7657A0}"/>
          </ac:spMkLst>
        </pc:spChg>
        <pc:spChg chg="add del mod">
          <ac:chgData name="Hendrik Künnemann" userId="42049411-02c5-422c-a22f-150aa89b4dd4" providerId="ADAL" clId="{578E8D60-8950-F04D-98B0-3C702F5FCA63}" dt="2024-05-14T22:06:53.816" v="2224" actId="478"/>
          <ac:spMkLst>
            <pc:docMk/>
            <pc:sldMk cId="378897943" sldId="315"/>
            <ac:spMk id="24" creationId="{B71CD1A2-9343-33FA-7D7F-7F467294BB97}"/>
          </ac:spMkLst>
        </pc:spChg>
        <pc:spChg chg="add mod topLvl">
          <ac:chgData name="Hendrik Künnemann" userId="42049411-02c5-422c-a22f-150aa89b4dd4" providerId="ADAL" clId="{578E8D60-8950-F04D-98B0-3C702F5FCA63}" dt="2024-05-14T22:16:06.068" v="2399" actId="165"/>
          <ac:spMkLst>
            <pc:docMk/>
            <pc:sldMk cId="378897943" sldId="315"/>
            <ac:spMk id="25" creationId="{76DF08A3-48A1-89D8-93D6-FB64321854F3}"/>
          </ac:spMkLst>
        </pc:spChg>
        <pc:spChg chg="add del mod">
          <ac:chgData name="Hendrik Künnemann" userId="42049411-02c5-422c-a22f-150aa89b4dd4" providerId="ADAL" clId="{578E8D60-8950-F04D-98B0-3C702F5FCA63}" dt="2024-05-14T22:06:55.952" v="2225" actId="478"/>
          <ac:spMkLst>
            <pc:docMk/>
            <pc:sldMk cId="378897943" sldId="315"/>
            <ac:spMk id="26" creationId="{5AF6F36F-EB82-ACF7-C778-849D5954925A}"/>
          </ac:spMkLst>
        </pc:spChg>
        <pc:spChg chg="add del mod">
          <ac:chgData name="Hendrik Künnemann" userId="42049411-02c5-422c-a22f-150aa89b4dd4" providerId="ADAL" clId="{578E8D60-8950-F04D-98B0-3C702F5FCA63}" dt="2024-05-14T22:06:53.816" v="2224" actId="478"/>
          <ac:spMkLst>
            <pc:docMk/>
            <pc:sldMk cId="378897943" sldId="315"/>
            <ac:spMk id="27" creationId="{83F97271-F0B5-08E8-F324-0FC6F649734D}"/>
          </ac:spMkLst>
        </pc:spChg>
        <pc:spChg chg="add del mod">
          <ac:chgData name="Hendrik Künnemann" userId="42049411-02c5-422c-a22f-150aa89b4dd4" providerId="ADAL" clId="{578E8D60-8950-F04D-98B0-3C702F5FCA63}" dt="2024-05-14T22:06:53.816" v="2224" actId="478"/>
          <ac:spMkLst>
            <pc:docMk/>
            <pc:sldMk cId="378897943" sldId="315"/>
            <ac:spMk id="28" creationId="{E1E5A8A4-1FD1-70AD-248E-A4DE25000030}"/>
          </ac:spMkLst>
        </pc:spChg>
        <pc:spChg chg="add del mod">
          <ac:chgData name="Hendrik Künnemann" userId="42049411-02c5-422c-a22f-150aa89b4dd4" providerId="ADAL" clId="{578E8D60-8950-F04D-98B0-3C702F5FCA63}" dt="2024-05-14T22:06:55.952" v="2225" actId="478"/>
          <ac:spMkLst>
            <pc:docMk/>
            <pc:sldMk cId="378897943" sldId="315"/>
            <ac:spMk id="29" creationId="{07D2B518-CB4B-84C4-96DD-6AE082B0675C}"/>
          </ac:spMkLst>
        </pc:spChg>
        <pc:spChg chg="add del mod">
          <ac:chgData name="Hendrik Künnemann" userId="42049411-02c5-422c-a22f-150aa89b4dd4" providerId="ADAL" clId="{578E8D60-8950-F04D-98B0-3C702F5FCA63}" dt="2024-05-14T22:03:35.149" v="2163" actId="478"/>
          <ac:spMkLst>
            <pc:docMk/>
            <pc:sldMk cId="378897943" sldId="315"/>
            <ac:spMk id="30" creationId="{38DDD847-7D93-C771-FA98-25FC0E62D0A2}"/>
          </ac:spMkLst>
        </pc:spChg>
        <pc:spChg chg="mod">
          <ac:chgData name="Hendrik Künnemann" userId="42049411-02c5-422c-a22f-150aa89b4dd4" providerId="ADAL" clId="{578E8D60-8950-F04D-98B0-3C702F5FCA63}" dt="2024-05-14T22:01:58.807" v="2149"/>
          <ac:spMkLst>
            <pc:docMk/>
            <pc:sldMk cId="378897943" sldId="315"/>
            <ac:spMk id="31" creationId="{ADAD93D4-C550-07AC-D072-8055563298DB}"/>
          </ac:spMkLst>
        </pc:spChg>
        <pc:spChg chg="add del mod">
          <ac:chgData name="Hendrik Künnemann" userId="42049411-02c5-422c-a22f-150aa89b4dd4" providerId="ADAL" clId="{578E8D60-8950-F04D-98B0-3C702F5FCA63}" dt="2024-05-14T22:03:27.219" v="2160" actId="478"/>
          <ac:spMkLst>
            <pc:docMk/>
            <pc:sldMk cId="378897943" sldId="315"/>
            <ac:spMk id="32" creationId="{AC513993-A919-780A-9CFB-F70FAB3F9128}"/>
          </ac:spMkLst>
        </pc:spChg>
        <pc:spChg chg="add del mod">
          <ac:chgData name="Hendrik Künnemann" userId="42049411-02c5-422c-a22f-150aa89b4dd4" providerId="ADAL" clId="{578E8D60-8950-F04D-98B0-3C702F5FCA63}" dt="2024-05-14T22:06:53.816" v="2224" actId="478"/>
          <ac:spMkLst>
            <pc:docMk/>
            <pc:sldMk cId="378897943" sldId="315"/>
            <ac:spMk id="33" creationId="{0C933E39-BE5F-B28C-825A-6B2AA0A997A3}"/>
          </ac:spMkLst>
        </pc:spChg>
        <pc:spChg chg="add del mod">
          <ac:chgData name="Hendrik Künnemann" userId="42049411-02c5-422c-a22f-150aa89b4dd4" providerId="ADAL" clId="{578E8D60-8950-F04D-98B0-3C702F5FCA63}" dt="2024-05-14T22:06:53.816" v="2224" actId="478"/>
          <ac:spMkLst>
            <pc:docMk/>
            <pc:sldMk cId="378897943" sldId="315"/>
            <ac:spMk id="34" creationId="{AFE9E84B-A03C-D1CA-A585-C87182651E47}"/>
          </ac:spMkLst>
        </pc:spChg>
        <pc:spChg chg="add del mod">
          <ac:chgData name="Hendrik Künnemann" userId="42049411-02c5-422c-a22f-150aa89b4dd4" providerId="ADAL" clId="{578E8D60-8950-F04D-98B0-3C702F5FCA63}" dt="2024-05-14T22:06:53.816" v="2224" actId="478"/>
          <ac:spMkLst>
            <pc:docMk/>
            <pc:sldMk cId="378897943" sldId="315"/>
            <ac:spMk id="35" creationId="{0CD0BACE-36DC-1424-F555-1E4BE26DFAF7}"/>
          </ac:spMkLst>
        </pc:spChg>
        <pc:spChg chg="add del mod">
          <ac:chgData name="Hendrik Künnemann" userId="42049411-02c5-422c-a22f-150aa89b4dd4" providerId="ADAL" clId="{578E8D60-8950-F04D-98B0-3C702F5FCA63}" dt="2024-05-14T22:06:53.816" v="2224" actId="478"/>
          <ac:spMkLst>
            <pc:docMk/>
            <pc:sldMk cId="378897943" sldId="315"/>
            <ac:spMk id="36" creationId="{533E637E-9A0C-DD27-7477-063D4C267910}"/>
          </ac:spMkLst>
        </pc:spChg>
        <pc:spChg chg="add del mod">
          <ac:chgData name="Hendrik Künnemann" userId="42049411-02c5-422c-a22f-150aa89b4dd4" providerId="ADAL" clId="{578E8D60-8950-F04D-98B0-3C702F5FCA63}" dt="2024-05-14T22:06:53.816" v="2224" actId="478"/>
          <ac:spMkLst>
            <pc:docMk/>
            <pc:sldMk cId="378897943" sldId="315"/>
            <ac:spMk id="37" creationId="{DD5C503A-15B3-EB74-6339-8F9E0CB66AD7}"/>
          </ac:spMkLst>
        </pc:spChg>
        <pc:spChg chg="add mod topLvl">
          <ac:chgData name="Hendrik Künnemann" userId="42049411-02c5-422c-a22f-150aa89b4dd4" providerId="ADAL" clId="{578E8D60-8950-F04D-98B0-3C702F5FCA63}" dt="2024-05-14T22:19:30.052" v="2430" actId="207"/>
          <ac:spMkLst>
            <pc:docMk/>
            <pc:sldMk cId="378897943" sldId="315"/>
            <ac:spMk id="38" creationId="{6C0117FC-2767-5F1A-B667-FF404F562AD5}"/>
          </ac:spMkLst>
        </pc:spChg>
        <pc:spChg chg="add del mod">
          <ac:chgData name="Hendrik Künnemann" userId="42049411-02c5-422c-a22f-150aa89b4dd4" providerId="ADAL" clId="{578E8D60-8950-F04D-98B0-3C702F5FCA63}" dt="2024-05-14T22:05:03.667" v="2187" actId="478"/>
          <ac:spMkLst>
            <pc:docMk/>
            <pc:sldMk cId="378897943" sldId="315"/>
            <ac:spMk id="39" creationId="{B2783BAC-F510-3209-8BBB-6B4B18EBD539}"/>
          </ac:spMkLst>
        </pc:spChg>
        <pc:spChg chg="add del mod">
          <ac:chgData name="Hendrik Künnemann" userId="42049411-02c5-422c-a22f-150aa89b4dd4" providerId="ADAL" clId="{578E8D60-8950-F04D-98B0-3C702F5FCA63}" dt="2024-05-14T22:06:55.952" v="2225" actId="478"/>
          <ac:spMkLst>
            <pc:docMk/>
            <pc:sldMk cId="378897943" sldId="315"/>
            <ac:spMk id="40" creationId="{181833E8-4C8A-8022-4F77-187D353528A6}"/>
          </ac:spMkLst>
        </pc:spChg>
        <pc:spChg chg="add del mod">
          <ac:chgData name="Hendrik Künnemann" userId="42049411-02c5-422c-a22f-150aa89b4dd4" providerId="ADAL" clId="{578E8D60-8950-F04D-98B0-3C702F5FCA63}" dt="2024-05-14T22:06:53.816" v="2224" actId="478"/>
          <ac:spMkLst>
            <pc:docMk/>
            <pc:sldMk cId="378897943" sldId="315"/>
            <ac:spMk id="41" creationId="{25DE5A19-3DA6-1455-EC5B-6177208A40BF}"/>
          </ac:spMkLst>
        </pc:spChg>
        <pc:spChg chg="add del mod">
          <ac:chgData name="Hendrik Künnemann" userId="42049411-02c5-422c-a22f-150aa89b4dd4" providerId="ADAL" clId="{578E8D60-8950-F04D-98B0-3C702F5FCA63}" dt="2024-05-14T22:06:55.952" v="2225" actId="478"/>
          <ac:spMkLst>
            <pc:docMk/>
            <pc:sldMk cId="378897943" sldId="315"/>
            <ac:spMk id="42" creationId="{B68B43DA-BD6C-619A-98C7-6DA3974DACE8}"/>
          </ac:spMkLst>
        </pc:spChg>
        <pc:spChg chg="mod topLvl">
          <ac:chgData name="Hendrik Künnemann" userId="42049411-02c5-422c-a22f-150aa89b4dd4" providerId="ADAL" clId="{578E8D60-8950-F04D-98B0-3C702F5FCA63}" dt="2024-05-14T22:16:06.068" v="2399" actId="165"/>
          <ac:spMkLst>
            <pc:docMk/>
            <pc:sldMk cId="378897943" sldId="315"/>
            <ac:spMk id="45" creationId="{B41352A6-4BE5-989C-07DE-68BED8560FEE}"/>
          </ac:spMkLst>
        </pc:spChg>
        <pc:spChg chg="mod topLvl">
          <ac:chgData name="Hendrik Künnemann" userId="42049411-02c5-422c-a22f-150aa89b4dd4" providerId="ADAL" clId="{578E8D60-8950-F04D-98B0-3C702F5FCA63}" dt="2024-05-14T22:19:30.052" v="2430" actId="207"/>
          <ac:spMkLst>
            <pc:docMk/>
            <pc:sldMk cId="378897943" sldId="315"/>
            <ac:spMk id="46" creationId="{6B243071-7D8F-941C-5C4F-3DBEA302D76A}"/>
          </ac:spMkLst>
        </pc:spChg>
        <pc:spChg chg="mod topLvl">
          <ac:chgData name="Hendrik Künnemann" userId="42049411-02c5-422c-a22f-150aa89b4dd4" providerId="ADAL" clId="{578E8D60-8950-F04D-98B0-3C702F5FCA63}" dt="2024-05-14T22:16:06.068" v="2399" actId="165"/>
          <ac:spMkLst>
            <pc:docMk/>
            <pc:sldMk cId="378897943" sldId="315"/>
            <ac:spMk id="48" creationId="{9D0C7E49-F035-E312-9F8A-5424F1B1CE1D}"/>
          </ac:spMkLst>
        </pc:spChg>
        <pc:spChg chg="mod topLvl">
          <ac:chgData name="Hendrik Künnemann" userId="42049411-02c5-422c-a22f-150aa89b4dd4" providerId="ADAL" clId="{578E8D60-8950-F04D-98B0-3C702F5FCA63}" dt="2024-05-14T22:19:30.052" v="2430" actId="207"/>
          <ac:spMkLst>
            <pc:docMk/>
            <pc:sldMk cId="378897943" sldId="315"/>
            <ac:spMk id="49" creationId="{5B85CBCD-0215-DFC4-4728-1CFC09A18016}"/>
          </ac:spMkLst>
        </pc:spChg>
        <pc:spChg chg="mod topLvl">
          <ac:chgData name="Hendrik Künnemann" userId="42049411-02c5-422c-a22f-150aa89b4dd4" providerId="ADAL" clId="{578E8D60-8950-F04D-98B0-3C702F5FCA63}" dt="2024-05-14T22:16:06.068" v="2399" actId="165"/>
          <ac:spMkLst>
            <pc:docMk/>
            <pc:sldMk cId="378897943" sldId="315"/>
            <ac:spMk id="51" creationId="{A7376AEA-E416-4E06-147C-5731000B2717}"/>
          </ac:spMkLst>
        </pc:spChg>
        <pc:spChg chg="mod topLvl">
          <ac:chgData name="Hendrik Künnemann" userId="42049411-02c5-422c-a22f-150aa89b4dd4" providerId="ADAL" clId="{578E8D60-8950-F04D-98B0-3C702F5FCA63}" dt="2024-05-14T22:19:30.052" v="2430" actId="207"/>
          <ac:spMkLst>
            <pc:docMk/>
            <pc:sldMk cId="378897943" sldId="315"/>
            <ac:spMk id="52" creationId="{3578CCE7-5A4B-313C-3289-32A4E43D35D0}"/>
          </ac:spMkLst>
        </pc:spChg>
        <pc:spChg chg="mod topLvl">
          <ac:chgData name="Hendrik Künnemann" userId="42049411-02c5-422c-a22f-150aa89b4dd4" providerId="ADAL" clId="{578E8D60-8950-F04D-98B0-3C702F5FCA63}" dt="2024-05-14T22:16:06.068" v="2399" actId="165"/>
          <ac:spMkLst>
            <pc:docMk/>
            <pc:sldMk cId="378897943" sldId="315"/>
            <ac:spMk id="54" creationId="{FEF88710-7FAE-3B59-7856-3250CAEC1DB9}"/>
          </ac:spMkLst>
        </pc:spChg>
        <pc:spChg chg="mod topLvl">
          <ac:chgData name="Hendrik Künnemann" userId="42049411-02c5-422c-a22f-150aa89b4dd4" providerId="ADAL" clId="{578E8D60-8950-F04D-98B0-3C702F5FCA63}" dt="2024-05-14T22:19:30.052" v="2430" actId="207"/>
          <ac:spMkLst>
            <pc:docMk/>
            <pc:sldMk cId="378897943" sldId="315"/>
            <ac:spMk id="55" creationId="{024CD889-DCEF-AA1A-19A0-C444D4C2B80D}"/>
          </ac:spMkLst>
        </pc:spChg>
        <pc:spChg chg="mod topLvl">
          <ac:chgData name="Hendrik Künnemann" userId="42049411-02c5-422c-a22f-150aa89b4dd4" providerId="ADAL" clId="{578E8D60-8950-F04D-98B0-3C702F5FCA63}" dt="2024-05-14T22:16:06.068" v="2399" actId="165"/>
          <ac:spMkLst>
            <pc:docMk/>
            <pc:sldMk cId="378897943" sldId="315"/>
            <ac:spMk id="57" creationId="{50EFC08F-0382-0779-8344-B04D4A745946}"/>
          </ac:spMkLst>
        </pc:spChg>
        <pc:spChg chg="mod topLvl">
          <ac:chgData name="Hendrik Künnemann" userId="42049411-02c5-422c-a22f-150aa89b4dd4" providerId="ADAL" clId="{578E8D60-8950-F04D-98B0-3C702F5FCA63}" dt="2024-05-14T22:19:30.052" v="2430" actId="207"/>
          <ac:spMkLst>
            <pc:docMk/>
            <pc:sldMk cId="378897943" sldId="315"/>
            <ac:spMk id="58" creationId="{C0DEEB18-4A41-8630-7163-AA8DB648EA9D}"/>
          </ac:spMkLst>
        </pc:spChg>
        <pc:spChg chg="mod">
          <ac:chgData name="Hendrik Künnemann" userId="42049411-02c5-422c-a22f-150aa89b4dd4" providerId="ADAL" clId="{578E8D60-8950-F04D-98B0-3C702F5FCA63}" dt="2024-05-14T22:07:21.184" v="2233" actId="571"/>
          <ac:spMkLst>
            <pc:docMk/>
            <pc:sldMk cId="378897943" sldId="315"/>
            <ac:spMk id="60" creationId="{40CB7116-5A22-5A0D-3920-AC2738B80945}"/>
          </ac:spMkLst>
        </pc:spChg>
        <pc:spChg chg="mod">
          <ac:chgData name="Hendrik Künnemann" userId="42049411-02c5-422c-a22f-150aa89b4dd4" providerId="ADAL" clId="{578E8D60-8950-F04D-98B0-3C702F5FCA63}" dt="2024-05-14T22:07:21.184" v="2233" actId="571"/>
          <ac:spMkLst>
            <pc:docMk/>
            <pc:sldMk cId="378897943" sldId="315"/>
            <ac:spMk id="61" creationId="{A7A2E7D4-6B22-2158-D763-FBBBAE94FBF2}"/>
          </ac:spMkLst>
        </pc:spChg>
        <pc:spChg chg="mod topLvl">
          <ac:chgData name="Hendrik Künnemann" userId="42049411-02c5-422c-a22f-150aa89b4dd4" providerId="ADAL" clId="{578E8D60-8950-F04D-98B0-3C702F5FCA63}" dt="2024-05-14T22:16:06.068" v="2399" actId="165"/>
          <ac:spMkLst>
            <pc:docMk/>
            <pc:sldMk cId="378897943" sldId="315"/>
            <ac:spMk id="63" creationId="{15D38C12-D7FD-28C9-7CBE-40F479F3D46C}"/>
          </ac:spMkLst>
        </pc:spChg>
        <pc:spChg chg="mod topLvl">
          <ac:chgData name="Hendrik Künnemann" userId="42049411-02c5-422c-a22f-150aa89b4dd4" providerId="ADAL" clId="{578E8D60-8950-F04D-98B0-3C702F5FCA63}" dt="2024-05-14T22:19:30.052" v="2430" actId="207"/>
          <ac:spMkLst>
            <pc:docMk/>
            <pc:sldMk cId="378897943" sldId="315"/>
            <ac:spMk id="64" creationId="{B03E975C-24B9-66F3-A72F-DC09132C4C72}"/>
          </ac:spMkLst>
        </pc:spChg>
        <pc:spChg chg="mod">
          <ac:chgData name="Hendrik Künnemann" userId="42049411-02c5-422c-a22f-150aa89b4dd4" providerId="ADAL" clId="{578E8D60-8950-F04D-98B0-3C702F5FCA63}" dt="2024-05-14T22:08:35.336" v="2330" actId="571"/>
          <ac:spMkLst>
            <pc:docMk/>
            <pc:sldMk cId="378897943" sldId="315"/>
            <ac:spMk id="66" creationId="{D3EE8D06-69A5-BA41-B162-B82FF9404BD4}"/>
          </ac:spMkLst>
        </pc:spChg>
        <pc:spChg chg="mod">
          <ac:chgData name="Hendrik Künnemann" userId="42049411-02c5-422c-a22f-150aa89b4dd4" providerId="ADAL" clId="{578E8D60-8950-F04D-98B0-3C702F5FCA63}" dt="2024-05-14T22:08:35.336" v="2330" actId="571"/>
          <ac:spMkLst>
            <pc:docMk/>
            <pc:sldMk cId="378897943" sldId="315"/>
            <ac:spMk id="67" creationId="{F17F005B-5F3C-79BD-92AD-3D57358FF6BC}"/>
          </ac:spMkLst>
        </pc:spChg>
        <pc:spChg chg="add mod topLvl">
          <ac:chgData name="Hendrik Künnemann" userId="42049411-02c5-422c-a22f-150aa89b4dd4" providerId="ADAL" clId="{578E8D60-8950-F04D-98B0-3C702F5FCA63}" dt="2024-05-14T22:18:36.996" v="2428" actId="14100"/>
          <ac:spMkLst>
            <pc:docMk/>
            <pc:sldMk cId="378897943" sldId="315"/>
            <ac:spMk id="83" creationId="{EE676F7E-D9BA-613F-C1AB-D419364F7669}"/>
          </ac:spMkLst>
        </pc:spChg>
        <pc:spChg chg="add mod topLvl">
          <ac:chgData name="Hendrik Künnemann" userId="42049411-02c5-422c-a22f-150aa89b4dd4" providerId="ADAL" clId="{578E8D60-8950-F04D-98B0-3C702F5FCA63}" dt="2024-05-14T22:18:36.996" v="2428" actId="14100"/>
          <ac:spMkLst>
            <pc:docMk/>
            <pc:sldMk cId="378897943" sldId="315"/>
            <ac:spMk id="84" creationId="{D4A69AFA-3432-34E8-D554-FE16B5BA5085}"/>
          </ac:spMkLst>
        </pc:spChg>
        <pc:spChg chg="add mod topLvl">
          <ac:chgData name="Hendrik Künnemann" userId="42049411-02c5-422c-a22f-150aa89b4dd4" providerId="ADAL" clId="{578E8D60-8950-F04D-98B0-3C702F5FCA63}" dt="2024-05-14T22:18:36.996" v="2428" actId="14100"/>
          <ac:spMkLst>
            <pc:docMk/>
            <pc:sldMk cId="378897943" sldId="315"/>
            <ac:spMk id="85" creationId="{990DC6A2-1002-C410-6CCA-C6FDA34FC16C}"/>
          </ac:spMkLst>
        </pc:spChg>
        <pc:spChg chg="add mod topLvl">
          <ac:chgData name="Hendrik Künnemann" userId="42049411-02c5-422c-a22f-150aa89b4dd4" providerId="ADAL" clId="{578E8D60-8950-F04D-98B0-3C702F5FCA63}" dt="2024-05-14T22:18:36.996" v="2428" actId="14100"/>
          <ac:spMkLst>
            <pc:docMk/>
            <pc:sldMk cId="378897943" sldId="315"/>
            <ac:spMk id="86" creationId="{06E13166-BC20-9E22-5F59-749AC26C6E91}"/>
          </ac:spMkLst>
        </pc:spChg>
        <pc:spChg chg="add mod topLvl">
          <ac:chgData name="Hendrik Künnemann" userId="42049411-02c5-422c-a22f-150aa89b4dd4" providerId="ADAL" clId="{578E8D60-8950-F04D-98B0-3C702F5FCA63}" dt="2024-05-14T22:18:47.161" v="2429" actId="14100"/>
          <ac:spMkLst>
            <pc:docMk/>
            <pc:sldMk cId="378897943" sldId="315"/>
            <ac:spMk id="87" creationId="{AE0DB43A-83AF-09B2-E947-B3367DA0D57B}"/>
          </ac:spMkLst>
        </pc:spChg>
        <pc:spChg chg="add mod topLvl">
          <ac:chgData name="Hendrik Künnemann" userId="42049411-02c5-422c-a22f-150aa89b4dd4" providerId="ADAL" clId="{578E8D60-8950-F04D-98B0-3C702F5FCA63}" dt="2024-05-14T22:18:47.161" v="2429" actId="14100"/>
          <ac:spMkLst>
            <pc:docMk/>
            <pc:sldMk cId="378897943" sldId="315"/>
            <ac:spMk id="88" creationId="{DC54AE19-43F2-9FBB-1E98-2C8E1E48A2D4}"/>
          </ac:spMkLst>
        </pc:spChg>
        <pc:spChg chg="add mod topLvl">
          <ac:chgData name="Hendrik Künnemann" userId="42049411-02c5-422c-a22f-150aa89b4dd4" providerId="ADAL" clId="{578E8D60-8950-F04D-98B0-3C702F5FCA63}" dt="2024-05-14T22:18:47.161" v="2429" actId="14100"/>
          <ac:spMkLst>
            <pc:docMk/>
            <pc:sldMk cId="378897943" sldId="315"/>
            <ac:spMk id="89" creationId="{9C4945B5-4ECE-A293-E491-F41CF09CB37D}"/>
          </ac:spMkLst>
        </pc:spChg>
        <pc:grpChg chg="del">
          <ac:chgData name="Hendrik Künnemann" userId="42049411-02c5-422c-a22f-150aa89b4dd4" providerId="ADAL" clId="{578E8D60-8950-F04D-98B0-3C702F5FCA63}" dt="2024-05-14T22:10:33.369" v="2341" actId="478"/>
          <ac:grpSpMkLst>
            <pc:docMk/>
            <pc:sldMk cId="378897943" sldId="315"/>
            <ac:grpSpMk id="20" creationId="{506A37BE-135F-6F6B-899E-109BC277C564}"/>
          </ac:grpSpMkLst>
        </pc:grpChg>
        <pc:grpChg chg="add del mod topLvl">
          <ac:chgData name="Hendrik Künnemann" userId="42049411-02c5-422c-a22f-150aa89b4dd4" providerId="ADAL" clId="{578E8D60-8950-F04D-98B0-3C702F5FCA63}" dt="2024-05-14T22:12:50.645" v="2363" actId="165"/>
          <ac:grpSpMkLst>
            <pc:docMk/>
            <pc:sldMk cId="378897943" sldId="315"/>
            <ac:grpSpMk id="43" creationId="{A6EE65E3-1411-9F57-7623-14FA3904D8E1}"/>
          </ac:grpSpMkLst>
        </pc:grpChg>
        <pc:grpChg chg="add del mod topLvl">
          <ac:chgData name="Hendrik Künnemann" userId="42049411-02c5-422c-a22f-150aa89b4dd4" providerId="ADAL" clId="{578E8D60-8950-F04D-98B0-3C702F5FCA63}" dt="2024-05-14T22:12:50.645" v="2363" actId="165"/>
          <ac:grpSpMkLst>
            <pc:docMk/>
            <pc:sldMk cId="378897943" sldId="315"/>
            <ac:grpSpMk id="44" creationId="{770CC5B1-F5D5-2974-3D6F-6C005B34EAF9}"/>
          </ac:grpSpMkLst>
        </pc:grpChg>
        <pc:grpChg chg="add del mod topLvl">
          <ac:chgData name="Hendrik Künnemann" userId="42049411-02c5-422c-a22f-150aa89b4dd4" providerId="ADAL" clId="{578E8D60-8950-F04D-98B0-3C702F5FCA63}" dt="2024-05-14T22:12:50.645" v="2363" actId="165"/>
          <ac:grpSpMkLst>
            <pc:docMk/>
            <pc:sldMk cId="378897943" sldId="315"/>
            <ac:grpSpMk id="47" creationId="{F3520AD5-7908-0090-CEB2-3958BF880B3B}"/>
          </ac:grpSpMkLst>
        </pc:grpChg>
        <pc:grpChg chg="add del mod topLvl">
          <ac:chgData name="Hendrik Künnemann" userId="42049411-02c5-422c-a22f-150aa89b4dd4" providerId="ADAL" clId="{578E8D60-8950-F04D-98B0-3C702F5FCA63}" dt="2024-05-14T22:12:50.645" v="2363" actId="165"/>
          <ac:grpSpMkLst>
            <pc:docMk/>
            <pc:sldMk cId="378897943" sldId="315"/>
            <ac:grpSpMk id="50" creationId="{ACE96A1E-E8CC-42BB-7C48-DECB8A31A25D}"/>
          </ac:grpSpMkLst>
        </pc:grpChg>
        <pc:grpChg chg="add del mod topLvl">
          <ac:chgData name="Hendrik Künnemann" userId="42049411-02c5-422c-a22f-150aa89b4dd4" providerId="ADAL" clId="{578E8D60-8950-F04D-98B0-3C702F5FCA63}" dt="2024-05-14T22:12:50.645" v="2363" actId="165"/>
          <ac:grpSpMkLst>
            <pc:docMk/>
            <pc:sldMk cId="378897943" sldId="315"/>
            <ac:grpSpMk id="53" creationId="{8184A574-BA36-0BF6-C4C0-2F6D3A30765A}"/>
          </ac:grpSpMkLst>
        </pc:grpChg>
        <pc:grpChg chg="add del mod topLvl">
          <ac:chgData name="Hendrik Künnemann" userId="42049411-02c5-422c-a22f-150aa89b4dd4" providerId="ADAL" clId="{578E8D60-8950-F04D-98B0-3C702F5FCA63}" dt="2024-05-14T22:12:50.645" v="2363" actId="165"/>
          <ac:grpSpMkLst>
            <pc:docMk/>
            <pc:sldMk cId="378897943" sldId="315"/>
            <ac:grpSpMk id="56" creationId="{0E40E74D-45D8-1654-D465-476C6EC24763}"/>
          </ac:grpSpMkLst>
        </pc:grpChg>
        <pc:grpChg chg="add del mod">
          <ac:chgData name="Hendrik Künnemann" userId="42049411-02c5-422c-a22f-150aa89b4dd4" providerId="ADAL" clId="{578E8D60-8950-F04D-98B0-3C702F5FCA63}" dt="2024-05-14T22:09:13.916" v="2336" actId="478"/>
          <ac:grpSpMkLst>
            <pc:docMk/>
            <pc:sldMk cId="378897943" sldId="315"/>
            <ac:grpSpMk id="59" creationId="{D7B05C6D-C7F2-6331-BF98-ED8E25A1E4C3}"/>
          </ac:grpSpMkLst>
        </pc:grpChg>
        <pc:grpChg chg="add del mod topLvl">
          <ac:chgData name="Hendrik Künnemann" userId="42049411-02c5-422c-a22f-150aa89b4dd4" providerId="ADAL" clId="{578E8D60-8950-F04D-98B0-3C702F5FCA63}" dt="2024-05-14T22:12:50.645" v="2363" actId="165"/>
          <ac:grpSpMkLst>
            <pc:docMk/>
            <pc:sldMk cId="378897943" sldId="315"/>
            <ac:grpSpMk id="62" creationId="{B3E21B73-DE97-732C-2E9B-E5F863ADC8E5}"/>
          </ac:grpSpMkLst>
        </pc:grpChg>
        <pc:grpChg chg="add del mod">
          <ac:chgData name="Hendrik Künnemann" userId="42049411-02c5-422c-a22f-150aa89b4dd4" providerId="ADAL" clId="{578E8D60-8950-F04D-98B0-3C702F5FCA63}" dt="2024-05-14T22:09:13.916" v="2336" actId="478"/>
          <ac:grpSpMkLst>
            <pc:docMk/>
            <pc:sldMk cId="378897943" sldId="315"/>
            <ac:grpSpMk id="65" creationId="{1602F290-08EE-57F5-48CA-653919058F45}"/>
          </ac:grpSpMkLst>
        </pc:grpChg>
        <pc:grpChg chg="add mod">
          <ac:chgData name="Hendrik Künnemann" userId="42049411-02c5-422c-a22f-150aa89b4dd4" providerId="ADAL" clId="{578E8D60-8950-F04D-98B0-3C702F5FCA63}" dt="2024-05-14T22:10:45.483" v="2345" actId="164"/>
          <ac:grpSpMkLst>
            <pc:docMk/>
            <pc:sldMk cId="378897943" sldId="315"/>
            <ac:grpSpMk id="72" creationId="{F894E0D5-C897-3E7D-E14B-0C74904597FD}"/>
          </ac:grpSpMkLst>
        </pc:grpChg>
        <pc:grpChg chg="add del mod">
          <ac:chgData name="Hendrik Künnemann" userId="42049411-02c5-422c-a22f-150aa89b4dd4" providerId="ADAL" clId="{578E8D60-8950-F04D-98B0-3C702F5FCA63}" dt="2024-05-14T22:12:35.582" v="2362" actId="165"/>
          <ac:grpSpMkLst>
            <pc:docMk/>
            <pc:sldMk cId="378897943" sldId="315"/>
            <ac:grpSpMk id="73" creationId="{9075E8D4-3A7E-A115-24AA-A7BB2A34ADDC}"/>
          </ac:grpSpMkLst>
        </pc:grpChg>
        <pc:grpChg chg="add del mod">
          <ac:chgData name="Hendrik Künnemann" userId="42049411-02c5-422c-a22f-150aa89b4dd4" providerId="ADAL" clId="{578E8D60-8950-F04D-98B0-3C702F5FCA63}" dt="2024-05-14T22:16:06.068" v="2399" actId="165"/>
          <ac:grpSpMkLst>
            <pc:docMk/>
            <pc:sldMk cId="378897943" sldId="315"/>
            <ac:grpSpMk id="90" creationId="{6E8CAF0C-1196-DD6F-43B6-14E68A1103A7}"/>
          </ac:grpSpMkLst>
        </pc:grpChg>
        <pc:cxnChg chg="mod">
          <ac:chgData name="Hendrik Künnemann" userId="42049411-02c5-422c-a22f-150aa89b4dd4" providerId="ADAL" clId="{578E8D60-8950-F04D-98B0-3C702F5FCA63}" dt="2024-05-14T22:00:13.798" v="2130" actId="478"/>
          <ac:cxnSpMkLst>
            <pc:docMk/>
            <pc:sldMk cId="378897943" sldId="315"/>
            <ac:cxnSpMk id="13" creationId="{48B2C247-EBEA-62DF-3C53-EE7B686A6FF5}"/>
          </ac:cxnSpMkLst>
        </pc:cxnChg>
        <pc:cxnChg chg="add mod topLvl">
          <ac:chgData name="Hendrik Künnemann" userId="42049411-02c5-422c-a22f-150aa89b4dd4" providerId="ADAL" clId="{578E8D60-8950-F04D-98B0-3C702F5FCA63}" dt="2024-05-14T22:16:06.068" v="2399" actId="165"/>
          <ac:cxnSpMkLst>
            <pc:docMk/>
            <pc:sldMk cId="378897943" sldId="315"/>
            <ac:cxnSpMk id="69" creationId="{AF06998D-02B1-F2AE-BB1C-07DA2EC985ED}"/>
          </ac:cxnSpMkLst>
        </pc:cxnChg>
        <pc:cxnChg chg="add mod topLvl">
          <ac:chgData name="Hendrik Künnemann" userId="42049411-02c5-422c-a22f-150aa89b4dd4" providerId="ADAL" clId="{578E8D60-8950-F04D-98B0-3C702F5FCA63}" dt="2024-05-14T22:16:06.068" v="2399" actId="165"/>
          <ac:cxnSpMkLst>
            <pc:docMk/>
            <pc:sldMk cId="378897943" sldId="315"/>
            <ac:cxnSpMk id="71" creationId="{6ED19616-D825-65BC-09D4-D3BA3BE71D55}"/>
          </ac:cxnSpMkLst>
        </pc:cxnChg>
        <pc:cxnChg chg="add mod topLvl">
          <ac:chgData name="Hendrik Künnemann" userId="42049411-02c5-422c-a22f-150aa89b4dd4" providerId="ADAL" clId="{578E8D60-8950-F04D-98B0-3C702F5FCA63}" dt="2024-05-14T22:17:25.890" v="2413" actId="14100"/>
          <ac:cxnSpMkLst>
            <pc:docMk/>
            <pc:sldMk cId="378897943" sldId="315"/>
            <ac:cxnSpMk id="75" creationId="{3CDA5D74-0A44-F2A0-B9B0-3E03358396E4}"/>
          </ac:cxnSpMkLst>
        </pc:cxnChg>
        <pc:cxnChg chg="add mod topLvl">
          <ac:chgData name="Hendrik Künnemann" userId="42049411-02c5-422c-a22f-150aa89b4dd4" providerId="ADAL" clId="{578E8D60-8950-F04D-98B0-3C702F5FCA63}" dt="2024-05-14T22:17:23.203" v="2412" actId="14100"/>
          <ac:cxnSpMkLst>
            <pc:docMk/>
            <pc:sldMk cId="378897943" sldId="315"/>
            <ac:cxnSpMk id="76" creationId="{0BD443D1-8B86-DAF2-053A-49B77773B897}"/>
          </ac:cxnSpMkLst>
        </pc:cxnChg>
        <pc:cxnChg chg="add mod topLvl">
          <ac:chgData name="Hendrik Künnemann" userId="42049411-02c5-422c-a22f-150aa89b4dd4" providerId="ADAL" clId="{578E8D60-8950-F04D-98B0-3C702F5FCA63}" dt="2024-05-14T22:17:04.973" v="2410" actId="14100"/>
          <ac:cxnSpMkLst>
            <pc:docMk/>
            <pc:sldMk cId="378897943" sldId="315"/>
            <ac:cxnSpMk id="77" creationId="{75C7BBF7-CBBC-7BFD-4C24-D5BD8B1C297C}"/>
          </ac:cxnSpMkLst>
        </pc:cxnChg>
        <pc:cxnChg chg="add mod topLvl">
          <ac:chgData name="Hendrik Künnemann" userId="42049411-02c5-422c-a22f-150aa89b4dd4" providerId="ADAL" clId="{578E8D60-8950-F04D-98B0-3C702F5FCA63}" dt="2024-05-14T22:16:57.223" v="2409" actId="14100"/>
          <ac:cxnSpMkLst>
            <pc:docMk/>
            <pc:sldMk cId="378897943" sldId="315"/>
            <ac:cxnSpMk id="78" creationId="{F1D50AC8-7B4E-92F4-8036-D5EB8A4F7FCD}"/>
          </ac:cxnSpMkLst>
        </pc:cxnChg>
        <pc:cxnChg chg="add mod topLvl">
          <ac:chgData name="Hendrik Künnemann" userId="42049411-02c5-422c-a22f-150aa89b4dd4" providerId="ADAL" clId="{578E8D60-8950-F04D-98B0-3C702F5FCA63}" dt="2024-05-14T22:17:34.120" v="2414" actId="14100"/>
          <ac:cxnSpMkLst>
            <pc:docMk/>
            <pc:sldMk cId="378897943" sldId="315"/>
            <ac:cxnSpMk id="79" creationId="{BBA83715-5F74-6DEB-441F-21690CE8DD09}"/>
          </ac:cxnSpMkLst>
        </pc:cxnChg>
        <pc:cxnChg chg="add del mod">
          <ac:chgData name="Hendrik Künnemann" userId="42049411-02c5-422c-a22f-150aa89b4dd4" providerId="ADAL" clId="{578E8D60-8950-F04D-98B0-3C702F5FCA63}" dt="2024-05-14T22:11:45.550" v="2356" actId="478"/>
          <ac:cxnSpMkLst>
            <pc:docMk/>
            <pc:sldMk cId="378897943" sldId="315"/>
            <ac:cxnSpMk id="80" creationId="{58D4B915-CE39-39FC-B031-4BD241E48FE1}"/>
          </ac:cxnSpMkLst>
        </pc:cxnChg>
        <pc:cxnChg chg="add mod topLvl">
          <ac:chgData name="Hendrik Künnemann" userId="42049411-02c5-422c-a22f-150aa89b4dd4" providerId="ADAL" clId="{578E8D60-8950-F04D-98B0-3C702F5FCA63}" dt="2024-05-14T22:17:41.970" v="2416" actId="14100"/>
          <ac:cxnSpMkLst>
            <pc:docMk/>
            <pc:sldMk cId="378897943" sldId="315"/>
            <ac:cxnSpMk id="81" creationId="{803AAEE8-FAC8-68F9-F892-83532C765421}"/>
          </ac:cxnSpMkLst>
        </pc:cxnChg>
        <pc:cxnChg chg="add mod topLvl">
          <ac:chgData name="Hendrik Künnemann" userId="42049411-02c5-422c-a22f-150aa89b4dd4" providerId="ADAL" clId="{578E8D60-8950-F04D-98B0-3C702F5FCA63}" dt="2024-05-14T22:17:38.203" v="2415" actId="14100"/>
          <ac:cxnSpMkLst>
            <pc:docMk/>
            <pc:sldMk cId="378897943" sldId="315"/>
            <ac:cxnSpMk id="82" creationId="{60ABB061-173B-0B89-57CC-1001A14F3D8D}"/>
          </ac:cxnSpMkLst>
        </pc:cxnChg>
      </pc:sldChg>
      <pc:sldChg chg="addSp delSp modSp add mod">
        <pc:chgData name="Hendrik Künnemann" userId="42049411-02c5-422c-a22f-150aa89b4dd4" providerId="ADAL" clId="{578E8D60-8950-F04D-98B0-3C702F5FCA63}" dt="2024-05-15T09:52:25.982" v="2560" actId="1035"/>
        <pc:sldMkLst>
          <pc:docMk/>
          <pc:sldMk cId="4162219401" sldId="316"/>
        </pc:sldMkLst>
        <pc:spChg chg="add mod">
          <ac:chgData name="Hendrik Künnemann" userId="42049411-02c5-422c-a22f-150aa89b4dd4" providerId="ADAL" clId="{578E8D60-8950-F04D-98B0-3C702F5FCA63}" dt="2024-05-15T09:43:49.289" v="2487" actId="164"/>
          <ac:spMkLst>
            <pc:docMk/>
            <pc:sldMk cId="4162219401" sldId="316"/>
            <ac:spMk id="9" creationId="{5AB0FA8C-C6AA-EBCC-77FA-58446A144528}"/>
          </ac:spMkLst>
        </pc:spChg>
        <pc:spChg chg="add mod">
          <ac:chgData name="Hendrik Künnemann" userId="42049411-02c5-422c-a22f-150aa89b4dd4" providerId="ADAL" clId="{578E8D60-8950-F04D-98B0-3C702F5FCA63}" dt="2024-05-15T09:43:53.795" v="2488" actId="164"/>
          <ac:spMkLst>
            <pc:docMk/>
            <pc:sldMk cId="4162219401" sldId="316"/>
            <ac:spMk id="10" creationId="{7B4FC73C-CE6F-FCB3-EEC9-ADBC650F688E}"/>
          </ac:spMkLst>
        </pc:spChg>
        <pc:spChg chg="add mod">
          <ac:chgData name="Hendrik Künnemann" userId="42049411-02c5-422c-a22f-150aa89b4dd4" providerId="ADAL" clId="{578E8D60-8950-F04D-98B0-3C702F5FCA63}" dt="2024-05-15T09:51:07.793" v="2550" actId="14100"/>
          <ac:spMkLst>
            <pc:docMk/>
            <pc:sldMk cId="4162219401" sldId="316"/>
            <ac:spMk id="19" creationId="{C9DF05AD-DB15-2B00-F758-EE653FC13033}"/>
          </ac:spMkLst>
        </pc:spChg>
        <pc:spChg chg="add mod">
          <ac:chgData name="Hendrik Künnemann" userId="42049411-02c5-422c-a22f-150aa89b4dd4" providerId="ADAL" clId="{578E8D60-8950-F04D-98B0-3C702F5FCA63}" dt="2024-05-15T09:51:01.520" v="2549" actId="14100"/>
          <ac:spMkLst>
            <pc:docMk/>
            <pc:sldMk cId="4162219401" sldId="316"/>
            <ac:spMk id="20" creationId="{5B873B8C-4836-782F-C4EC-0A6149A442D2}"/>
          </ac:spMkLst>
        </pc:spChg>
        <pc:spChg chg="add mod">
          <ac:chgData name="Hendrik Künnemann" userId="42049411-02c5-422c-a22f-150aa89b4dd4" providerId="ADAL" clId="{578E8D60-8950-F04D-98B0-3C702F5FCA63}" dt="2024-05-15T09:50:48.427" v="2546" actId="1076"/>
          <ac:spMkLst>
            <pc:docMk/>
            <pc:sldMk cId="4162219401" sldId="316"/>
            <ac:spMk id="21" creationId="{F225DF1B-F443-A065-E1BF-55EDE63EFFE0}"/>
          </ac:spMkLst>
        </pc:spChg>
        <pc:spChg chg="del">
          <ac:chgData name="Hendrik Künnemann" userId="42049411-02c5-422c-a22f-150aa89b4dd4" providerId="ADAL" clId="{578E8D60-8950-F04D-98B0-3C702F5FCA63}" dt="2024-05-15T09:33:15.572" v="2434" actId="478"/>
          <ac:spMkLst>
            <pc:docMk/>
            <pc:sldMk cId="4162219401" sldId="316"/>
            <ac:spMk id="25" creationId="{76DF08A3-48A1-89D8-93D6-FB64321854F3}"/>
          </ac:spMkLst>
        </pc:spChg>
        <pc:spChg chg="mod">
          <ac:chgData name="Hendrik Künnemann" userId="42049411-02c5-422c-a22f-150aa89b4dd4" providerId="ADAL" clId="{578E8D60-8950-F04D-98B0-3C702F5FCA63}" dt="2024-05-15T09:49:33.574" v="2535" actId="571"/>
          <ac:spMkLst>
            <pc:docMk/>
            <pc:sldMk cId="4162219401" sldId="316"/>
            <ac:spMk id="28" creationId="{E7B04ED7-8882-C776-16BB-989C62F9EDD7}"/>
          </ac:spMkLst>
        </pc:spChg>
        <pc:spChg chg="add mod">
          <ac:chgData name="Hendrik Künnemann" userId="42049411-02c5-422c-a22f-150aa89b4dd4" providerId="ADAL" clId="{578E8D60-8950-F04D-98B0-3C702F5FCA63}" dt="2024-05-15T09:49:45.601" v="2537" actId="571"/>
          <ac:spMkLst>
            <pc:docMk/>
            <pc:sldMk cId="4162219401" sldId="316"/>
            <ac:spMk id="29" creationId="{1C5A4FEB-76F8-1ADB-1C12-B9DE669544DA}"/>
          </ac:spMkLst>
        </pc:spChg>
        <pc:spChg chg="mod">
          <ac:chgData name="Hendrik Künnemann" userId="42049411-02c5-422c-a22f-150aa89b4dd4" providerId="ADAL" clId="{578E8D60-8950-F04D-98B0-3C702F5FCA63}" dt="2024-05-15T09:49:50.857" v="2538" actId="571"/>
          <ac:spMkLst>
            <pc:docMk/>
            <pc:sldMk cId="4162219401" sldId="316"/>
            <ac:spMk id="32" creationId="{3B344582-2D88-4AC0-C702-EBB9CE7D14A8}"/>
          </ac:spMkLst>
        </pc:spChg>
        <pc:spChg chg="mod">
          <ac:chgData name="Hendrik Künnemann" userId="42049411-02c5-422c-a22f-150aa89b4dd4" providerId="ADAL" clId="{578E8D60-8950-F04D-98B0-3C702F5FCA63}" dt="2024-05-15T09:49:55.111" v="2539" actId="571"/>
          <ac:spMkLst>
            <pc:docMk/>
            <pc:sldMk cId="4162219401" sldId="316"/>
            <ac:spMk id="35" creationId="{2327EC69-6A5C-F1D3-8FEF-8A1BB5AE93E0}"/>
          </ac:spMkLst>
        </pc:spChg>
        <pc:spChg chg="del">
          <ac:chgData name="Hendrik Künnemann" userId="42049411-02c5-422c-a22f-150aa89b4dd4" providerId="ADAL" clId="{578E8D60-8950-F04D-98B0-3C702F5FCA63}" dt="2024-05-15T09:33:15.572" v="2434" actId="478"/>
          <ac:spMkLst>
            <pc:docMk/>
            <pc:sldMk cId="4162219401" sldId="316"/>
            <ac:spMk id="38" creationId="{6C0117FC-2767-5F1A-B667-FF404F562AD5}"/>
          </ac:spMkLst>
        </pc:spChg>
        <pc:spChg chg="mod">
          <ac:chgData name="Hendrik Künnemann" userId="42049411-02c5-422c-a22f-150aa89b4dd4" providerId="ADAL" clId="{578E8D60-8950-F04D-98B0-3C702F5FCA63}" dt="2024-05-15T09:51:18.484" v="2553"/>
          <ac:spMkLst>
            <pc:docMk/>
            <pc:sldMk cId="4162219401" sldId="316"/>
            <ac:spMk id="39" creationId="{0BBE0041-45B8-0A27-7148-F7E87D2CBE68}"/>
          </ac:spMkLst>
        </pc:spChg>
        <pc:spChg chg="mod">
          <ac:chgData name="Hendrik Künnemann" userId="42049411-02c5-422c-a22f-150aa89b4dd4" providerId="ADAL" clId="{578E8D60-8950-F04D-98B0-3C702F5FCA63}" dt="2024-05-15T09:51:18.484" v="2553"/>
          <ac:spMkLst>
            <pc:docMk/>
            <pc:sldMk cId="4162219401" sldId="316"/>
            <ac:spMk id="42" creationId="{9283FFFD-888E-833C-B56A-9DFEAF00499E}"/>
          </ac:spMkLst>
        </pc:spChg>
        <pc:spChg chg="del">
          <ac:chgData name="Hendrik Künnemann" userId="42049411-02c5-422c-a22f-150aa89b4dd4" providerId="ADAL" clId="{578E8D60-8950-F04D-98B0-3C702F5FCA63}" dt="2024-05-15T09:33:15.572" v="2434" actId="478"/>
          <ac:spMkLst>
            <pc:docMk/>
            <pc:sldMk cId="4162219401" sldId="316"/>
            <ac:spMk id="45" creationId="{B41352A6-4BE5-989C-07DE-68BED8560FEE}"/>
          </ac:spMkLst>
        </pc:spChg>
        <pc:spChg chg="del">
          <ac:chgData name="Hendrik Künnemann" userId="42049411-02c5-422c-a22f-150aa89b4dd4" providerId="ADAL" clId="{578E8D60-8950-F04D-98B0-3C702F5FCA63}" dt="2024-05-15T09:33:15.572" v="2434" actId="478"/>
          <ac:spMkLst>
            <pc:docMk/>
            <pc:sldMk cId="4162219401" sldId="316"/>
            <ac:spMk id="46" creationId="{6B243071-7D8F-941C-5C4F-3DBEA302D76A}"/>
          </ac:spMkLst>
        </pc:spChg>
        <pc:spChg chg="mod">
          <ac:chgData name="Hendrik Künnemann" userId="42049411-02c5-422c-a22f-150aa89b4dd4" providerId="ADAL" clId="{578E8D60-8950-F04D-98B0-3C702F5FCA63}" dt="2024-05-15T09:51:18.484" v="2553"/>
          <ac:spMkLst>
            <pc:docMk/>
            <pc:sldMk cId="4162219401" sldId="316"/>
            <ac:spMk id="47" creationId="{B7EC1347-C0F3-0CA8-01A5-2A89E0E9C4A3}"/>
          </ac:spMkLst>
        </pc:spChg>
        <pc:spChg chg="del">
          <ac:chgData name="Hendrik Künnemann" userId="42049411-02c5-422c-a22f-150aa89b4dd4" providerId="ADAL" clId="{578E8D60-8950-F04D-98B0-3C702F5FCA63}" dt="2024-05-15T09:33:15.572" v="2434" actId="478"/>
          <ac:spMkLst>
            <pc:docMk/>
            <pc:sldMk cId="4162219401" sldId="316"/>
            <ac:spMk id="48" creationId="{9D0C7E49-F035-E312-9F8A-5424F1B1CE1D}"/>
          </ac:spMkLst>
        </pc:spChg>
        <pc:spChg chg="del">
          <ac:chgData name="Hendrik Künnemann" userId="42049411-02c5-422c-a22f-150aa89b4dd4" providerId="ADAL" clId="{578E8D60-8950-F04D-98B0-3C702F5FCA63}" dt="2024-05-15T09:33:15.572" v="2434" actId="478"/>
          <ac:spMkLst>
            <pc:docMk/>
            <pc:sldMk cId="4162219401" sldId="316"/>
            <ac:spMk id="49" creationId="{5B85CBCD-0215-DFC4-4728-1CFC09A18016}"/>
          </ac:spMkLst>
        </pc:spChg>
        <pc:spChg chg="del">
          <ac:chgData name="Hendrik Künnemann" userId="42049411-02c5-422c-a22f-150aa89b4dd4" providerId="ADAL" clId="{578E8D60-8950-F04D-98B0-3C702F5FCA63}" dt="2024-05-15T09:33:15.572" v="2434" actId="478"/>
          <ac:spMkLst>
            <pc:docMk/>
            <pc:sldMk cId="4162219401" sldId="316"/>
            <ac:spMk id="51" creationId="{A7376AEA-E416-4E06-147C-5731000B2717}"/>
          </ac:spMkLst>
        </pc:spChg>
        <pc:spChg chg="del">
          <ac:chgData name="Hendrik Künnemann" userId="42049411-02c5-422c-a22f-150aa89b4dd4" providerId="ADAL" clId="{578E8D60-8950-F04D-98B0-3C702F5FCA63}" dt="2024-05-15T09:33:15.572" v="2434" actId="478"/>
          <ac:spMkLst>
            <pc:docMk/>
            <pc:sldMk cId="4162219401" sldId="316"/>
            <ac:spMk id="52" creationId="{3578CCE7-5A4B-313C-3289-32A4E43D35D0}"/>
          </ac:spMkLst>
        </pc:spChg>
        <pc:spChg chg="del">
          <ac:chgData name="Hendrik Künnemann" userId="42049411-02c5-422c-a22f-150aa89b4dd4" providerId="ADAL" clId="{578E8D60-8950-F04D-98B0-3C702F5FCA63}" dt="2024-05-15T09:33:15.572" v="2434" actId="478"/>
          <ac:spMkLst>
            <pc:docMk/>
            <pc:sldMk cId="4162219401" sldId="316"/>
            <ac:spMk id="54" creationId="{FEF88710-7FAE-3B59-7856-3250CAEC1DB9}"/>
          </ac:spMkLst>
        </pc:spChg>
        <pc:spChg chg="del">
          <ac:chgData name="Hendrik Künnemann" userId="42049411-02c5-422c-a22f-150aa89b4dd4" providerId="ADAL" clId="{578E8D60-8950-F04D-98B0-3C702F5FCA63}" dt="2024-05-15T09:33:15.572" v="2434" actId="478"/>
          <ac:spMkLst>
            <pc:docMk/>
            <pc:sldMk cId="4162219401" sldId="316"/>
            <ac:spMk id="55" creationId="{024CD889-DCEF-AA1A-19A0-C444D4C2B80D}"/>
          </ac:spMkLst>
        </pc:spChg>
        <pc:spChg chg="del">
          <ac:chgData name="Hendrik Künnemann" userId="42049411-02c5-422c-a22f-150aa89b4dd4" providerId="ADAL" clId="{578E8D60-8950-F04D-98B0-3C702F5FCA63}" dt="2024-05-15T09:33:15.572" v="2434" actId="478"/>
          <ac:spMkLst>
            <pc:docMk/>
            <pc:sldMk cId="4162219401" sldId="316"/>
            <ac:spMk id="57" creationId="{50EFC08F-0382-0779-8344-B04D4A745946}"/>
          </ac:spMkLst>
        </pc:spChg>
        <pc:spChg chg="del">
          <ac:chgData name="Hendrik Künnemann" userId="42049411-02c5-422c-a22f-150aa89b4dd4" providerId="ADAL" clId="{578E8D60-8950-F04D-98B0-3C702F5FCA63}" dt="2024-05-15T09:33:15.572" v="2434" actId="478"/>
          <ac:spMkLst>
            <pc:docMk/>
            <pc:sldMk cId="4162219401" sldId="316"/>
            <ac:spMk id="58" creationId="{C0DEEB18-4A41-8630-7163-AA8DB648EA9D}"/>
          </ac:spMkLst>
        </pc:spChg>
        <pc:spChg chg="del">
          <ac:chgData name="Hendrik Künnemann" userId="42049411-02c5-422c-a22f-150aa89b4dd4" providerId="ADAL" clId="{578E8D60-8950-F04D-98B0-3C702F5FCA63}" dt="2024-05-15T09:33:15.572" v="2434" actId="478"/>
          <ac:spMkLst>
            <pc:docMk/>
            <pc:sldMk cId="4162219401" sldId="316"/>
            <ac:spMk id="63" creationId="{15D38C12-D7FD-28C9-7CBE-40F479F3D46C}"/>
          </ac:spMkLst>
        </pc:spChg>
        <pc:spChg chg="del">
          <ac:chgData name="Hendrik Künnemann" userId="42049411-02c5-422c-a22f-150aa89b4dd4" providerId="ADAL" clId="{578E8D60-8950-F04D-98B0-3C702F5FCA63}" dt="2024-05-15T09:33:15.572" v="2434" actId="478"/>
          <ac:spMkLst>
            <pc:docMk/>
            <pc:sldMk cId="4162219401" sldId="316"/>
            <ac:spMk id="64" creationId="{B03E975C-24B9-66F3-A72F-DC09132C4C72}"/>
          </ac:spMkLst>
        </pc:spChg>
        <pc:spChg chg="del">
          <ac:chgData name="Hendrik Künnemann" userId="42049411-02c5-422c-a22f-150aa89b4dd4" providerId="ADAL" clId="{578E8D60-8950-F04D-98B0-3C702F5FCA63}" dt="2024-05-15T09:33:15.572" v="2434" actId="478"/>
          <ac:spMkLst>
            <pc:docMk/>
            <pc:sldMk cId="4162219401" sldId="316"/>
            <ac:spMk id="83" creationId="{EE676F7E-D9BA-613F-C1AB-D419364F7669}"/>
          </ac:spMkLst>
        </pc:spChg>
        <pc:spChg chg="del">
          <ac:chgData name="Hendrik Künnemann" userId="42049411-02c5-422c-a22f-150aa89b4dd4" providerId="ADAL" clId="{578E8D60-8950-F04D-98B0-3C702F5FCA63}" dt="2024-05-15T09:33:15.572" v="2434" actId="478"/>
          <ac:spMkLst>
            <pc:docMk/>
            <pc:sldMk cId="4162219401" sldId="316"/>
            <ac:spMk id="84" creationId="{D4A69AFA-3432-34E8-D554-FE16B5BA5085}"/>
          </ac:spMkLst>
        </pc:spChg>
        <pc:spChg chg="del">
          <ac:chgData name="Hendrik Künnemann" userId="42049411-02c5-422c-a22f-150aa89b4dd4" providerId="ADAL" clId="{578E8D60-8950-F04D-98B0-3C702F5FCA63}" dt="2024-05-15T09:33:15.572" v="2434" actId="478"/>
          <ac:spMkLst>
            <pc:docMk/>
            <pc:sldMk cId="4162219401" sldId="316"/>
            <ac:spMk id="85" creationId="{990DC6A2-1002-C410-6CCA-C6FDA34FC16C}"/>
          </ac:spMkLst>
        </pc:spChg>
        <pc:spChg chg="del">
          <ac:chgData name="Hendrik Künnemann" userId="42049411-02c5-422c-a22f-150aa89b4dd4" providerId="ADAL" clId="{578E8D60-8950-F04D-98B0-3C702F5FCA63}" dt="2024-05-15T09:33:15.572" v="2434" actId="478"/>
          <ac:spMkLst>
            <pc:docMk/>
            <pc:sldMk cId="4162219401" sldId="316"/>
            <ac:spMk id="86" creationId="{06E13166-BC20-9E22-5F59-749AC26C6E91}"/>
          </ac:spMkLst>
        </pc:spChg>
        <pc:spChg chg="del">
          <ac:chgData name="Hendrik Künnemann" userId="42049411-02c5-422c-a22f-150aa89b4dd4" providerId="ADAL" clId="{578E8D60-8950-F04D-98B0-3C702F5FCA63}" dt="2024-05-15T09:33:15.572" v="2434" actId="478"/>
          <ac:spMkLst>
            <pc:docMk/>
            <pc:sldMk cId="4162219401" sldId="316"/>
            <ac:spMk id="87" creationId="{AE0DB43A-83AF-09B2-E947-B3367DA0D57B}"/>
          </ac:spMkLst>
        </pc:spChg>
        <pc:spChg chg="del">
          <ac:chgData name="Hendrik Künnemann" userId="42049411-02c5-422c-a22f-150aa89b4dd4" providerId="ADAL" clId="{578E8D60-8950-F04D-98B0-3C702F5FCA63}" dt="2024-05-15T09:33:15.572" v="2434" actId="478"/>
          <ac:spMkLst>
            <pc:docMk/>
            <pc:sldMk cId="4162219401" sldId="316"/>
            <ac:spMk id="88" creationId="{DC54AE19-43F2-9FBB-1E98-2C8E1E48A2D4}"/>
          </ac:spMkLst>
        </pc:spChg>
        <pc:spChg chg="del">
          <ac:chgData name="Hendrik Künnemann" userId="42049411-02c5-422c-a22f-150aa89b4dd4" providerId="ADAL" clId="{578E8D60-8950-F04D-98B0-3C702F5FCA63}" dt="2024-05-15T09:33:15.572" v="2434" actId="478"/>
          <ac:spMkLst>
            <pc:docMk/>
            <pc:sldMk cId="4162219401" sldId="316"/>
            <ac:spMk id="89" creationId="{9C4945B5-4ECE-A293-E491-F41CF09CB37D}"/>
          </ac:spMkLst>
        </pc:spChg>
        <pc:grpChg chg="add mod">
          <ac:chgData name="Hendrik Künnemann" userId="42049411-02c5-422c-a22f-150aa89b4dd4" providerId="ADAL" clId="{578E8D60-8950-F04D-98B0-3C702F5FCA63}" dt="2024-05-15T09:44:10.079" v="2490" actId="14100"/>
          <ac:grpSpMkLst>
            <pc:docMk/>
            <pc:sldMk cId="4162219401" sldId="316"/>
            <ac:grpSpMk id="11" creationId="{DF1C8BCF-D009-DBD8-D1D0-D4263C603994}"/>
          </ac:grpSpMkLst>
        </pc:grpChg>
        <pc:grpChg chg="add mod">
          <ac:chgData name="Hendrik Künnemann" userId="42049411-02c5-422c-a22f-150aa89b4dd4" providerId="ADAL" clId="{578E8D60-8950-F04D-98B0-3C702F5FCA63}" dt="2024-05-15T09:44:02.010" v="2489" actId="14100"/>
          <ac:grpSpMkLst>
            <pc:docMk/>
            <pc:sldMk cId="4162219401" sldId="316"/>
            <ac:grpSpMk id="12" creationId="{2CB8CDDB-CC04-79E2-7122-0783D4AC8C68}"/>
          </ac:grpSpMkLst>
        </pc:grpChg>
        <pc:grpChg chg="add mod">
          <ac:chgData name="Hendrik Künnemann" userId="42049411-02c5-422c-a22f-150aa89b4dd4" providerId="ADAL" clId="{578E8D60-8950-F04D-98B0-3C702F5FCA63}" dt="2024-05-15T09:52:20.111" v="2559" actId="1076"/>
          <ac:grpSpMkLst>
            <pc:docMk/>
            <pc:sldMk cId="4162219401" sldId="316"/>
            <ac:grpSpMk id="22" creationId="{F78614D2-C2AA-306B-487C-A6758B75D82D}"/>
          </ac:grpSpMkLst>
        </pc:grpChg>
        <pc:grpChg chg="add mod">
          <ac:chgData name="Hendrik Künnemann" userId="42049411-02c5-422c-a22f-150aa89b4dd4" providerId="ADAL" clId="{578E8D60-8950-F04D-98B0-3C702F5FCA63}" dt="2024-05-15T09:52:25.982" v="2560" actId="1035"/>
          <ac:grpSpMkLst>
            <pc:docMk/>
            <pc:sldMk cId="4162219401" sldId="316"/>
            <ac:grpSpMk id="23" creationId="{ADC41A65-2E43-DB50-AB9F-CA5FBC39E515}"/>
          </ac:grpSpMkLst>
        </pc:grpChg>
        <pc:grpChg chg="add mod">
          <ac:chgData name="Hendrik Künnemann" userId="42049411-02c5-422c-a22f-150aa89b4dd4" providerId="ADAL" clId="{578E8D60-8950-F04D-98B0-3C702F5FCA63}" dt="2024-05-15T09:50:31.869" v="2544" actId="14100"/>
          <ac:grpSpMkLst>
            <pc:docMk/>
            <pc:sldMk cId="4162219401" sldId="316"/>
            <ac:grpSpMk id="24" creationId="{0464FCC6-16E9-ADD9-A0C1-E986467D1A57}"/>
          </ac:grpSpMkLst>
        </pc:grpChg>
        <pc:grpChg chg="add del mod">
          <ac:chgData name="Hendrik Künnemann" userId="42049411-02c5-422c-a22f-150aa89b4dd4" providerId="ADAL" clId="{578E8D60-8950-F04D-98B0-3C702F5FCA63}" dt="2024-05-15T09:51:13.714" v="2552" actId="478"/>
          <ac:grpSpMkLst>
            <pc:docMk/>
            <pc:sldMk cId="4162219401" sldId="316"/>
            <ac:grpSpMk id="26" creationId="{52B9D05E-256C-75A8-AFDA-0F9D9A20382F}"/>
          </ac:grpSpMkLst>
        </pc:grpChg>
        <pc:grpChg chg="add del mod">
          <ac:chgData name="Hendrik Künnemann" userId="42049411-02c5-422c-a22f-150aa89b4dd4" providerId="ADAL" clId="{578E8D60-8950-F04D-98B0-3C702F5FCA63}" dt="2024-05-15T09:51:13.714" v="2552" actId="478"/>
          <ac:grpSpMkLst>
            <pc:docMk/>
            <pc:sldMk cId="4162219401" sldId="316"/>
            <ac:grpSpMk id="30" creationId="{1E728625-140E-E6BB-63D8-7A65DE049A41}"/>
          </ac:grpSpMkLst>
        </pc:grpChg>
        <pc:grpChg chg="add del mod">
          <ac:chgData name="Hendrik Künnemann" userId="42049411-02c5-422c-a22f-150aa89b4dd4" providerId="ADAL" clId="{578E8D60-8950-F04D-98B0-3C702F5FCA63}" dt="2024-05-15T09:51:11.239" v="2551" actId="478"/>
          <ac:grpSpMkLst>
            <pc:docMk/>
            <pc:sldMk cId="4162219401" sldId="316"/>
            <ac:grpSpMk id="33" creationId="{E05BB961-C27B-BEFD-EEAB-AE8782F65429}"/>
          </ac:grpSpMkLst>
        </pc:grpChg>
        <pc:grpChg chg="add mod">
          <ac:chgData name="Hendrik Künnemann" userId="42049411-02c5-422c-a22f-150aa89b4dd4" providerId="ADAL" clId="{578E8D60-8950-F04D-98B0-3C702F5FCA63}" dt="2024-05-15T09:51:44.671" v="2557" actId="1076"/>
          <ac:grpSpMkLst>
            <pc:docMk/>
            <pc:sldMk cId="4162219401" sldId="316"/>
            <ac:grpSpMk id="36" creationId="{40FBE062-BCD2-323D-6BE2-DBEA253D5A15}"/>
          </ac:grpSpMkLst>
        </pc:grpChg>
        <pc:grpChg chg="add mod">
          <ac:chgData name="Hendrik Künnemann" userId="42049411-02c5-422c-a22f-150aa89b4dd4" providerId="ADAL" clId="{578E8D60-8950-F04D-98B0-3C702F5FCA63}" dt="2024-05-15T09:51:38.405" v="2556" actId="1076"/>
          <ac:grpSpMkLst>
            <pc:docMk/>
            <pc:sldMk cId="4162219401" sldId="316"/>
            <ac:grpSpMk id="40" creationId="{A5455AB3-F945-449B-E4C3-84348A15AF33}"/>
          </ac:grpSpMkLst>
        </pc:grpChg>
        <pc:grpChg chg="add mod">
          <ac:chgData name="Hendrik Künnemann" userId="42049411-02c5-422c-a22f-150aa89b4dd4" providerId="ADAL" clId="{578E8D60-8950-F04D-98B0-3C702F5FCA63}" dt="2024-05-15T09:51:33.437" v="2555" actId="1076"/>
          <ac:grpSpMkLst>
            <pc:docMk/>
            <pc:sldMk cId="4162219401" sldId="316"/>
            <ac:grpSpMk id="43" creationId="{0F4DEDA9-4AB7-486B-6027-566CFD7AC242}"/>
          </ac:grpSpMkLst>
        </pc:grpChg>
        <pc:picChg chg="add del mod">
          <ac:chgData name="Hendrik Künnemann" userId="42049411-02c5-422c-a22f-150aa89b4dd4" providerId="ADAL" clId="{578E8D60-8950-F04D-98B0-3C702F5FCA63}" dt="2024-05-15T09:36:18.198" v="2438" actId="478"/>
          <ac:picMkLst>
            <pc:docMk/>
            <pc:sldMk cId="4162219401" sldId="316"/>
            <ac:picMk id="4" creationId="{D388C93A-E2A9-DEDA-9966-072A62A270F3}"/>
          </ac:picMkLst>
        </pc:picChg>
        <pc:picChg chg="add mod modCrop">
          <ac:chgData name="Hendrik Künnemann" userId="42049411-02c5-422c-a22f-150aa89b4dd4" providerId="ADAL" clId="{578E8D60-8950-F04D-98B0-3C702F5FCA63}" dt="2024-05-15T09:43:53.795" v="2488" actId="164"/>
          <ac:picMkLst>
            <pc:docMk/>
            <pc:sldMk cId="4162219401" sldId="316"/>
            <ac:picMk id="5" creationId="{3C4E8509-4197-C989-C70E-DE4B2AD7255D}"/>
          </ac:picMkLst>
        </pc:picChg>
        <pc:picChg chg="add mod">
          <ac:chgData name="Hendrik Künnemann" userId="42049411-02c5-422c-a22f-150aa89b4dd4" providerId="ADAL" clId="{578E8D60-8950-F04D-98B0-3C702F5FCA63}" dt="2024-05-15T09:43:53.795" v="2488" actId="164"/>
          <ac:picMkLst>
            <pc:docMk/>
            <pc:sldMk cId="4162219401" sldId="316"/>
            <ac:picMk id="6" creationId="{4AEC2224-E8EB-E572-08A3-9C104DA29FD6}"/>
          </ac:picMkLst>
        </pc:picChg>
        <pc:picChg chg="add mod modCrop">
          <ac:chgData name="Hendrik Künnemann" userId="42049411-02c5-422c-a22f-150aa89b4dd4" providerId="ADAL" clId="{578E8D60-8950-F04D-98B0-3C702F5FCA63}" dt="2024-05-15T09:43:49.289" v="2487" actId="164"/>
          <ac:picMkLst>
            <pc:docMk/>
            <pc:sldMk cId="4162219401" sldId="316"/>
            <ac:picMk id="7" creationId="{58EEF368-8C71-6063-D0EA-0DDBFC183EB4}"/>
          </ac:picMkLst>
        </pc:picChg>
        <pc:picChg chg="add mod">
          <ac:chgData name="Hendrik Künnemann" userId="42049411-02c5-422c-a22f-150aa89b4dd4" providerId="ADAL" clId="{578E8D60-8950-F04D-98B0-3C702F5FCA63}" dt="2024-05-15T09:43:49.289" v="2487" actId="164"/>
          <ac:picMkLst>
            <pc:docMk/>
            <pc:sldMk cId="4162219401" sldId="316"/>
            <ac:picMk id="8" creationId="{E9C268D2-4A92-555B-294A-3FAF05C0D43E}"/>
          </ac:picMkLst>
        </pc:picChg>
        <pc:picChg chg="add mod">
          <ac:chgData name="Hendrik Künnemann" userId="42049411-02c5-422c-a22f-150aa89b4dd4" providerId="ADAL" clId="{578E8D60-8950-F04D-98B0-3C702F5FCA63}" dt="2024-05-15T09:49:09.400" v="2532" actId="164"/>
          <ac:picMkLst>
            <pc:docMk/>
            <pc:sldMk cId="4162219401" sldId="316"/>
            <ac:picMk id="14" creationId="{97B5C914-03CB-3C74-A2A0-21E28EEA24F0}"/>
          </ac:picMkLst>
        </pc:picChg>
        <pc:picChg chg="add mod">
          <ac:chgData name="Hendrik Künnemann" userId="42049411-02c5-422c-a22f-150aa89b4dd4" providerId="ADAL" clId="{578E8D60-8950-F04D-98B0-3C702F5FCA63}" dt="2024-05-15T09:49:45.601" v="2537" actId="571"/>
          <ac:picMkLst>
            <pc:docMk/>
            <pc:sldMk cId="4162219401" sldId="316"/>
            <ac:picMk id="16" creationId="{5918EF20-0518-75EE-4428-99C19D24673E}"/>
          </ac:picMkLst>
        </pc:picChg>
        <pc:picChg chg="add mod">
          <ac:chgData name="Hendrik Künnemann" userId="42049411-02c5-422c-a22f-150aa89b4dd4" providerId="ADAL" clId="{578E8D60-8950-F04D-98B0-3C702F5FCA63}" dt="2024-05-15T09:49:28.188" v="2534" actId="164"/>
          <ac:picMkLst>
            <pc:docMk/>
            <pc:sldMk cId="4162219401" sldId="316"/>
            <ac:picMk id="18" creationId="{14EEB843-E299-75DF-10FA-E4331E51FB6E}"/>
          </ac:picMkLst>
        </pc:picChg>
        <pc:picChg chg="mod">
          <ac:chgData name="Hendrik Künnemann" userId="42049411-02c5-422c-a22f-150aa89b4dd4" providerId="ADAL" clId="{578E8D60-8950-F04D-98B0-3C702F5FCA63}" dt="2024-05-15T09:49:33.574" v="2535" actId="571"/>
          <ac:picMkLst>
            <pc:docMk/>
            <pc:sldMk cId="4162219401" sldId="316"/>
            <ac:picMk id="27" creationId="{C6A1EF4F-B7A4-0A63-B7D3-6830B8F15FF0}"/>
          </ac:picMkLst>
        </pc:picChg>
        <pc:picChg chg="mod">
          <ac:chgData name="Hendrik Künnemann" userId="42049411-02c5-422c-a22f-150aa89b4dd4" providerId="ADAL" clId="{578E8D60-8950-F04D-98B0-3C702F5FCA63}" dt="2024-05-15T09:49:50.857" v="2538" actId="571"/>
          <ac:picMkLst>
            <pc:docMk/>
            <pc:sldMk cId="4162219401" sldId="316"/>
            <ac:picMk id="31" creationId="{0096400F-7EB4-EF1B-4689-3E0E1CC6D45A}"/>
          </ac:picMkLst>
        </pc:picChg>
        <pc:picChg chg="mod">
          <ac:chgData name="Hendrik Künnemann" userId="42049411-02c5-422c-a22f-150aa89b4dd4" providerId="ADAL" clId="{578E8D60-8950-F04D-98B0-3C702F5FCA63}" dt="2024-05-15T09:49:55.111" v="2539" actId="571"/>
          <ac:picMkLst>
            <pc:docMk/>
            <pc:sldMk cId="4162219401" sldId="316"/>
            <ac:picMk id="34" creationId="{661E7BCC-9C77-DBF8-38B1-6B173B7420A8}"/>
          </ac:picMkLst>
        </pc:picChg>
        <pc:picChg chg="mod">
          <ac:chgData name="Hendrik Künnemann" userId="42049411-02c5-422c-a22f-150aa89b4dd4" providerId="ADAL" clId="{578E8D60-8950-F04D-98B0-3C702F5FCA63}" dt="2024-05-15T09:51:18.484" v="2553"/>
          <ac:picMkLst>
            <pc:docMk/>
            <pc:sldMk cId="4162219401" sldId="316"/>
            <ac:picMk id="37" creationId="{5A6896E6-A159-5BFB-3B94-0EC3FDC480AB}"/>
          </ac:picMkLst>
        </pc:picChg>
        <pc:picChg chg="mod">
          <ac:chgData name="Hendrik Künnemann" userId="42049411-02c5-422c-a22f-150aa89b4dd4" providerId="ADAL" clId="{578E8D60-8950-F04D-98B0-3C702F5FCA63}" dt="2024-05-15T09:51:18.484" v="2553"/>
          <ac:picMkLst>
            <pc:docMk/>
            <pc:sldMk cId="4162219401" sldId="316"/>
            <ac:picMk id="41" creationId="{54CC560A-EFB6-8184-58A8-456BA9EE3AC6}"/>
          </ac:picMkLst>
        </pc:picChg>
        <pc:picChg chg="mod">
          <ac:chgData name="Hendrik Künnemann" userId="42049411-02c5-422c-a22f-150aa89b4dd4" providerId="ADAL" clId="{578E8D60-8950-F04D-98B0-3C702F5FCA63}" dt="2024-05-15T09:51:18.484" v="2553"/>
          <ac:picMkLst>
            <pc:docMk/>
            <pc:sldMk cId="4162219401" sldId="316"/>
            <ac:picMk id="44" creationId="{16D10120-D698-F51C-AD84-CA6FD0F257A0}"/>
          </ac:picMkLst>
        </pc:picChg>
        <pc:cxnChg chg="del mod">
          <ac:chgData name="Hendrik Künnemann" userId="42049411-02c5-422c-a22f-150aa89b4dd4" providerId="ADAL" clId="{578E8D60-8950-F04D-98B0-3C702F5FCA63}" dt="2024-05-15T09:33:15.572" v="2434" actId="478"/>
          <ac:cxnSpMkLst>
            <pc:docMk/>
            <pc:sldMk cId="4162219401" sldId="316"/>
            <ac:cxnSpMk id="69" creationId="{AF06998D-02B1-F2AE-BB1C-07DA2EC985ED}"/>
          </ac:cxnSpMkLst>
        </pc:cxnChg>
        <pc:cxnChg chg="del mod">
          <ac:chgData name="Hendrik Künnemann" userId="42049411-02c5-422c-a22f-150aa89b4dd4" providerId="ADAL" clId="{578E8D60-8950-F04D-98B0-3C702F5FCA63}" dt="2024-05-15T09:33:15.572" v="2434" actId="478"/>
          <ac:cxnSpMkLst>
            <pc:docMk/>
            <pc:sldMk cId="4162219401" sldId="316"/>
            <ac:cxnSpMk id="71" creationId="{6ED19616-D825-65BC-09D4-D3BA3BE71D55}"/>
          </ac:cxnSpMkLst>
        </pc:cxnChg>
        <pc:cxnChg chg="del">
          <ac:chgData name="Hendrik Künnemann" userId="42049411-02c5-422c-a22f-150aa89b4dd4" providerId="ADAL" clId="{578E8D60-8950-F04D-98B0-3C702F5FCA63}" dt="2024-05-15T09:33:15.572" v="2434" actId="478"/>
          <ac:cxnSpMkLst>
            <pc:docMk/>
            <pc:sldMk cId="4162219401" sldId="316"/>
            <ac:cxnSpMk id="75" creationId="{3CDA5D74-0A44-F2A0-B9B0-3E03358396E4}"/>
          </ac:cxnSpMkLst>
        </pc:cxnChg>
        <pc:cxnChg chg="del">
          <ac:chgData name="Hendrik Künnemann" userId="42049411-02c5-422c-a22f-150aa89b4dd4" providerId="ADAL" clId="{578E8D60-8950-F04D-98B0-3C702F5FCA63}" dt="2024-05-15T09:33:15.572" v="2434" actId="478"/>
          <ac:cxnSpMkLst>
            <pc:docMk/>
            <pc:sldMk cId="4162219401" sldId="316"/>
            <ac:cxnSpMk id="76" creationId="{0BD443D1-8B86-DAF2-053A-49B77773B897}"/>
          </ac:cxnSpMkLst>
        </pc:cxnChg>
        <pc:cxnChg chg="del">
          <ac:chgData name="Hendrik Künnemann" userId="42049411-02c5-422c-a22f-150aa89b4dd4" providerId="ADAL" clId="{578E8D60-8950-F04D-98B0-3C702F5FCA63}" dt="2024-05-15T09:33:15.572" v="2434" actId="478"/>
          <ac:cxnSpMkLst>
            <pc:docMk/>
            <pc:sldMk cId="4162219401" sldId="316"/>
            <ac:cxnSpMk id="77" creationId="{75C7BBF7-CBBC-7BFD-4C24-D5BD8B1C297C}"/>
          </ac:cxnSpMkLst>
        </pc:cxnChg>
        <pc:cxnChg chg="del">
          <ac:chgData name="Hendrik Künnemann" userId="42049411-02c5-422c-a22f-150aa89b4dd4" providerId="ADAL" clId="{578E8D60-8950-F04D-98B0-3C702F5FCA63}" dt="2024-05-15T09:33:15.572" v="2434" actId="478"/>
          <ac:cxnSpMkLst>
            <pc:docMk/>
            <pc:sldMk cId="4162219401" sldId="316"/>
            <ac:cxnSpMk id="78" creationId="{F1D50AC8-7B4E-92F4-8036-D5EB8A4F7FCD}"/>
          </ac:cxnSpMkLst>
        </pc:cxnChg>
        <pc:cxnChg chg="del">
          <ac:chgData name="Hendrik Künnemann" userId="42049411-02c5-422c-a22f-150aa89b4dd4" providerId="ADAL" clId="{578E8D60-8950-F04D-98B0-3C702F5FCA63}" dt="2024-05-15T09:33:15.572" v="2434" actId="478"/>
          <ac:cxnSpMkLst>
            <pc:docMk/>
            <pc:sldMk cId="4162219401" sldId="316"/>
            <ac:cxnSpMk id="79" creationId="{BBA83715-5F74-6DEB-441F-21690CE8DD09}"/>
          </ac:cxnSpMkLst>
        </pc:cxnChg>
        <pc:cxnChg chg="del">
          <ac:chgData name="Hendrik Künnemann" userId="42049411-02c5-422c-a22f-150aa89b4dd4" providerId="ADAL" clId="{578E8D60-8950-F04D-98B0-3C702F5FCA63}" dt="2024-05-15T09:33:15.572" v="2434" actId="478"/>
          <ac:cxnSpMkLst>
            <pc:docMk/>
            <pc:sldMk cId="4162219401" sldId="316"/>
            <ac:cxnSpMk id="81" creationId="{803AAEE8-FAC8-68F9-F892-83532C765421}"/>
          </ac:cxnSpMkLst>
        </pc:cxnChg>
        <pc:cxnChg chg="del">
          <ac:chgData name="Hendrik Künnemann" userId="42049411-02c5-422c-a22f-150aa89b4dd4" providerId="ADAL" clId="{578E8D60-8950-F04D-98B0-3C702F5FCA63}" dt="2024-05-15T09:33:15.572" v="2434" actId="478"/>
          <ac:cxnSpMkLst>
            <pc:docMk/>
            <pc:sldMk cId="4162219401" sldId="316"/>
            <ac:cxnSpMk id="82" creationId="{60ABB061-173B-0B89-57CC-1001A14F3D8D}"/>
          </ac:cxnSpMkLst>
        </pc:cxnChg>
      </pc:sldChg>
      <pc:sldChg chg="modSp del mod">
        <pc:chgData name="Hendrik Künnemann" userId="42049411-02c5-422c-a22f-150aa89b4dd4" providerId="ADAL" clId="{578E8D60-8950-F04D-98B0-3C702F5FCA63}" dt="2024-05-17T16:14:21.811" v="3102" actId="2696"/>
        <pc:sldMkLst>
          <pc:docMk/>
          <pc:sldMk cId="2805918559" sldId="320"/>
        </pc:sldMkLst>
        <pc:spChg chg="mod">
          <ac:chgData name="Hendrik Künnemann" userId="42049411-02c5-422c-a22f-150aa89b4dd4" providerId="ADAL" clId="{578E8D60-8950-F04D-98B0-3C702F5FCA63}" dt="2024-05-17T16:11:28.561" v="3078" actId="14100"/>
          <ac:spMkLst>
            <pc:docMk/>
            <pc:sldMk cId="2805918559" sldId="320"/>
            <ac:spMk id="30" creationId="{BE927285-AD03-084A-6F7D-60BE64BB0379}"/>
          </ac:spMkLst>
        </pc:spChg>
      </pc:sldChg>
      <pc:sldChg chg="addSp modSp mod modTransition">
        <pc:chgData name="Hendrik Künnemann" userId="42049411-02c5-422c-a22f-150aa89b4dd4" providerId="ADAL" clId="{578E8D60-8950-F04D-98B0-3C702F5FCA63}" dt="2024-05-17T16:41:29.160" v="3163" actId="20577"/>
        <pc:sldMkLst>
          <pc:docMk/>
          <pc:sldMk cId="2970629482" sldId="321"/>
        </pc:sldMkLst>
        <pc:spChg chg="mod">
          <ac:chgData name="Hendrik Künnemann" userId="42049411-02c5-422c-a22f-150aa89b4dd4" providerId="ADAL" clId="{578E8D60-8950-F04D-98B0-3C702F5FCA63}" dt="2024-05-17T15:47:26.052" v="3037" actId="13926"/>
          <ac:spMkLst>
            <pc:docMk/>
            <pc:sldMk cId="2970629482" sldId="321"/>
            <ac:spMk id="3" creationId="{281105C5-44E1-6128-D52F-2586EB705ADC}"/>
          </ac:spMkLst>
        </pc:spChg>
        <pc:spChg chg="mod">
          <ac:chgData name="Hendrik Künnemann" userId="42049411-02c5-422c-a22f-150aa89b4dd4" providerId="ADAL" clId="{578E8D60-8950-F04D-98B0-3C702F5FCA63}" dt="2024-05-17T16:13:34.711" v="3098" actId="207"/>
          <ac:spMkLst>
            <pc:docMk/>
            <pc:sldMk cId="2970629482" sldId="321"/>
            <ac:spMk id="8" creationId="{6595A55F-4D30-596B-74B3-37AB4A8536E6}"/>
          </ac:spMkLst>
        </pc:spChg>
        <pc:spChg chg="mod">
          <ac:chgData name="Hendrik Künnemann" userId="42049411-02c5-422c-a22f-150aa89b4dd4" providerId="ADAL" clId="{578E8D60-8950-F04D-98B0-3C702F5FCA63}" dt="2024-05-17T16:41:29.160" v="3163" actId="20577"/>
          <ac:spMkLst>
            <pc:docMk/>
            <pc:sldMk cId="2970629482" sldId="321"/>
            <ac:spMk id="26" creationId="{CBA1AAD0-6D7B-083C-8A3C-4D9FC143648D}"/>
          </ac:spMkLst>
        </pc:spChg>
        <pc:spChg chg="mod">
          <ac:chgData name="Hendrik Künnemann" userId="42049411-02c5-422c-a22f-150aa89b4dd4" providerId="ADAL" clId="{578E8D60-8950-F04D-98B0-3C702F5FCA63}" dt="2024-05-17T16:41:25.037" v="3162" actId="20577"/>
          <ac:spMkLst>
            <pc:docMk/>
            <pc:sldMk cId="2970629482" sldId="321"/>
            <ac:spMk id="29" creationId="{7108B188-BE1D-4E7E-C7B4-5C45F5300EB8}"/>
          </ac:spMkLst>
        </pc:spChg>
        <pc:picChg chg="add mod">
          <ac:chgData name="Hendrik Künnemann" userId="42049411-02c5-422c-a22f-150aa89b4dd4" providerId="ADAL" clId="{578E8D60-8950-F04D-98B0-3C702F5FCA63}" dt="2024-05-17T16:16:22.221" v="3117" actId="14100"/>
          <ac:picMkLst>
            <pc:docMk/>
            <pc:sldMk cId="2970629482" sldId="321"/>
            <ac:picMk id="7" creationId="{262B485D-8150-ADAB-1A87-7C0D0602628F}"/>
          </ac:picMkLst>
        </pc:picChg>
        <pc:picChg chg="add mod">
          <ac:chgData name="Hendrik Künnemann" userId="42049411-02c5-422c-a22f-150aa89b4dd4" providerId="ADAL" clId="{578E8D60-8950-F04D-98B0-3C702F5FCA63}" dt="2024-05-17T16:16:28.161" v="3119" actId="1076"/>
          <ac:picMkLst>
            <pc:docMk/>
            <pc:sldMk cId="2970629482" sldId="321"/>
            <ac:picMk id="10" creationId="{1481F1F2-A3BF-7D23-E1EC-FA86994CD4D6}"/>
          </ac:picMkLst>
        </pc:picChg>
        <pc:cxnChg chg="mod">
          <ac:chgData name="Hendrik Künnemann" userId="42049411-02c5-422c-a22f-150aa89b4dd4" providerId="ADAL" clId="{578E8D60-8950-F04D-98B0-3C702F5FCA63}" dt="2024-05-17T16:18:05.733" v="3127" actId="14100"/>
          <ac:cxnSpMkLst>
            <pc:docMk/>
            <pc:sldMk cId="2970629482" sldId="321"/>
            <ac:cxnSpMk id="5" creationId="{B3839C4D-065B-DC59-6043-7B7E6EF20899}"/>
          </ac:cxnSpMkLst>
        </pc:cxnChg>
      </pc:sldChg>
      <pc:sldChg chg="addSp delSp modSp mod modTransition">
        <pc:chgData name="Hendrik Künnemann" userId="42049411-02c5-422c-a22f-150aa89b4dd4" providerId="ADAL" clId="{578E8D60-8950-F04D-98B0-3C702F5FCA63}" dt="2024-05-17T16:51:34.763" v="3188" actId="478"/>
        <pc:sldMkLst>
          <pc:docMk/>
          <pc:sldMk cId="3277142740" sldId="327"/>
        </pc:sldMkLst>
        <pc:spChg chg="mod">
          <ac:chgData name="Hendrik Künnemann" userId="42049411-02c5-422c-a22f-150aa89b4dd4" providerId="ADAL" clId="{578E8D60-8950-F04D-98B0-3C702F5FCA63}" dt="2024-05-17T15:46:46.591" v="3035" actId="20577"/>
          <ac:spMkLst>
            <pc:docMk/>
            <pc:sldMk cId="3277142740" sldId="327"/>
            <ac:spMk id="3" creationId="{281105C5-44E1-6128-D52F-2586EB705ADC}"/>
          </ac:spMkLst>
        </pc:spChg>
        <pc:spChg chg="add">
          <ac:chgData name="Hendrik Künnemann" userId="42049411-02c5-422c-a22f-150aa89b4dd4" providerId="ADAL" clId="{578E8D60-8950-F04D-98B0-3C702F5FCA63}" dt="2024-05-17T16:50:35.089" v="3165"/>
          <ac:spMkLst>
            <pc:docMk/>
            <pc:sldMk cId="3277142740" sldId="327"/>
            <ac:spMk id="5" creationId="{2A52E4FC-5C94-DC36-E018-B5A93072201E}"/>
          </ac:spMkLst>
        </pc:spChg>
        <pc:spChg chg="add del mod">
          <ac:chgData name="Hendrik Künnemann" userId="42049411-02c5-422c-a22f-150aa89b4dd4" providerId="ADAL" clId="{578E8D60-8950-F04D-98B0-3C702F5FCA63}" dt="2024-05-17T16:51:33.670" v="3187" actId="478"/>
          <ac:spMkLst>
            <pc:docMk/>
            <pc:sldMk cId="3277142740" sldId="327"/>
            <ac:spMk id="7" creationId="{B367E591-B914-3193-780F-6A73197DA18B}"/>
          </ac:spMkLst>
        </pc:spChg>
        <pc:graphicFrameChg chg="add mod">
          <ac:chgData name="Hendrik Künnemann" userId="42049411-02c5-422c-a22f-150aa89b4dd4" providerId="ADAL" clId="{578E8D60-8950-F04D-98B0-3C702F5FCA63}" dt="2024-05-17T15:22:03.085" v="2780"/>
          <ac:graphicFrameMkLst>
            <pc:docMk/>
            <pc:sldMk cId="3277142740" sldId="327"/>
            <ac:graphicFrameMk id="4" creationId="{55963E2F-AA06-4B47-ADB8-054E1C860A16}"/>
          </ac:graphicFrameMkLst>
        </pc:graphicFrameChg>
        <pc:graphicFrameChg chg="modGraphic">
          <ac:chgData name="Hendrik Künnemann" userId="42049411-02c5-422c-a22f-150aa89b4dd4" providerId="ADAL" clId="{578E8D60-8950-F04D-98B0-3C702F5FCA63}" dt="2024-05-17T15:27:23.627" v="2975" actId="20577"/>
          <ac:graphicFrameMkLst>
            <pc:docMk/>
            <pc:sldMk cId="3277142740" sldId="327"/>
            <ac:graphicFrameMk id="63" creationId="{04A377E1-D6C2-07BA-5F68-8B24A6D764B8}"/>
          </ac:graphicFrameMkLst>
        </pc:graphicFrameChg>
        <pc:graphicFrameChg chg="del mod">
          <ac:chgData name="Hendrik Künnemann" userId="42049411-02c5-422c-a22f-150aa89b4dd4" providerId="ADAL" clId="{578E8D60-8950-F04D-98B0-3C702F5FCA63}" dt="2024-05-17T15:21:57.848" v="2779" actId="478"/>
          <ac:graphicFrameMkLst>
            <pc:docMk/>
            <pc:sldMk cId="3277142740" sldId="327"/>
            <ac:graphicFrameMk id="67" creationId="{9631E73E-D868-2BF8-78D0-C99017BE4FF0}"/>
          </ac:graphicFrameMkLst>
        </pc:graphicFrameChg>
        <pc:graphicFrameChg chg="mod">
          <ac:chgData name="Hendrik Künnemann" userId="42049411-02c5-422c-a22f-150aa89b4dd4" providerId="ADAL" clId="{578E8D60-8950-F04D-98B0-3C702F5FCA63}" dt="2024-05-17T15:25:09.709" v="2848"/>
          <ac:graphicFrameMkLst>
            <pc:docMk/>
            <pc:sldMk cId="3277142740" sldId="327"/>
            <ac:graphicFrameMk id="89" creationId="{FE46E295-2118-0634-ED94-F5FADBA861C1}"/>
          </ac:graphicFrameMkLst>
        </pc:graphicFrameChg>
        <pc:picChg chg="add del mod">
          <ac:chgData name="Hendrik Künnemann" userId="42049411-02c5-422c-a22f-150aa89b4dd4" providerId="ADAL" clId="{578E8D60-8950-F04D-98B0-3C702F5FCA63}" dt="2024-05-17T16:51:34.763" v="3188" actId="478"/>
          <ac:picMkLst>
            <pc:docMk/>
            <pc:sldMk cId="3277142740" sldId="327"/>
            <ac:picMk id="6" creationId="{902F7E33-3BDC-36FA-B38C-8BB98179788F}"/>
          </ac:picMkLst>
        </pc:picChg>
        <pc:cxnChg chg="mod">
          <ac:chgData name="Hendrik Künnemann" userId="42049411-02c5-422c-a22f-150aa89b4dd4" providerId="ADAL" clId="{578E8D60-8950-F04D-98B0-3C702F5FCA63}" dt="2024-05-17T16:19:21.521" v="3161" actId="1076"/>
          <ac:cxnSpMkLst>
            <pc:docMk/>
            <pc:sldMk cId="3277142740" sldId="327"/>
            <ac:cxnSpMk id="35" creationId="{EFCB2A8B-77BE-8B08-08BA-08A914A85658}"/>
          </ac:cxnSpMkLst>
        </pc:cxnChg>
      </pc:sldChg>
      <pc:sldChg chg="addSp delSp modSp mod">
        <pc:chgData name="Hendrik Künnemann" userId="42049411-02c5-422c-a22f-150aa89b4dd4" providerId="ADAL" clId="{578E8D60-8950-F04D-98B0-3C702F5FCA63}" dt="2024-05-17T15:28:34.770" v="2979" actId="14100"/>
        <pc:sldMkLst>
          <pc:docMk/>
          <pc:sldMk cId="1492285840" sldId="328"/>
        </pc:sldMkLst>
        <pc:spChg chg="add del mod">
          <ac:chgData name="Hendrik Künnemann" userId="42049411-02c5-422c-a22f-150aa89b4dd4" providerId="ADAL" clId="{578E8D60-8950-F04D-98B0-3C702F5FCA63}" dt="2024-05-17T14:41:59.993" v="2726" actId="478"/>
          <ac:spMkLst>
            <pc:docMk/>
            <pc:sldMk cId="1492285840" sldId="328"/>
            <ac:spMk id="4" creationId="{0BBD4BDF-A2CE-9A07-3FE6-ED4D485B37E0}"/>
          </ac:spMkLst>
        </pc:spChg>
        <pc:picChg chg="mod">
          <ac:chgData name="Hendrik Künnemann" userId="42049411-02c5-422c-a22f-150aa89b4dd4" providerId="ADAL" clId="{578E8D60-8950-F04D-98B0-3C702F5FCA63}" dt="2024-05-17T15:28:34.770" v="2979" actId="14100"/>
          <ac:picMkLst>
            <pc:docMk/>
            <pc:sldMk cId="1492285840" sldId="328"/>
            <ac:picMk id="13" creationId="{32C077A5-A9EE-E344-91D2-D013E9E29F2C}"/>
          </ac:picMkLst>
        </pc:picChg>
      </pc:sldChg>
      <pc:sldChg chg="addSp delSp modSp mod">
        <pc:chgData name="Hendrik Künnemann" userId="42049411-02c5-422c-a22f-150aa89b4dd4" providerId="ADAL" clId="{578E8D60-8950-F04D-98B0-3C702F5FCA63}" dt="2024-05-17T15:28:45.275" v="2983" actId="1036"/>
        <pc:sldMkLst>
          <pc:docMk/>
          <pc:sldMk cId="4279249451" sldId="329"/>
        </pc:sldMkLst>
        <pc:spChg chg="add del mod">
          <ac:chgData name="Hendrik Künnemann" userId="42049411-02c5-422c-a22f-150aa89b4dd4" providerId="ADAL" clId="{578E8D60-8950-F04D-98B0-3C702F5FCA63}" dt="2024-05-17T14:40:57.031" v="2724" actId="21"/>
          <ac:spMkLst>
            <pc:docMk/>
            <pc:sldMk cId="4279249451" sldId="329"/>
            <ac:spMk id="4" creationId="{18C37B0B-CDFD-22BA-9A4A-428DDE4E7099}"/>
          </ac:spMkLst>
        </pc:spChg>
        <pc:picChg chg="mod">
          <ac:chgData name="Hendrik Künnemann" userId="42049411-02c5-422c-a22f-150aa89b4dd4" providerId="ADAL" clId="{578E8D60-8950-F04D-98B0-3C702F5FCA63}" dt="2024-05-17T15:28:45.275" v="2983" actId="1036"/>
          <ac:picMkLst>
            <pc:docMk/>
            <pc:sldMk cId="4279249451" sldId="329"/>
            <ac:picMk id="12" creationId="{8D2687FF-5A6B-046D-12B4-3363D122C23E}"/>
          </ac:picMkLst>
        </pc:picChg>
      </pc:sldChg>
      <pc:sldChg chg="modSp mod modTransition">
        <pc:chgData name="Hendrik Künnemann" userId="42049411-02c5-422c-a22f-150aa89b4dd4" providerId="ADAL" clId="{578E8D60-8950-F04D-98B0-3C702F5FCA63}" dt="2024-05-17T16:18:51.050" v="3149"/>
        <pc:sldMkLst>
          <pc:docMk/>
          <pc:sldMk cId="636850645" sldId="330"/>
        </pc:sldMkLst>
        <pc:spChg chg="mod">
          <ac:chgData name="Hendrik Künnemann" userId="42049411-02c5-422c-a22f-150aa89b4dd4" providerId="ADAL" clId="{578E8D60-8950-F04D-98B0-3C702F5FCA63}" dt="2024-05-17T15:47:57.368" v="3039" actId="13926"/>
          <ac:spMkLst>
            <pc:docMk/>
            <pc:sldMk cId="636850645" sldId="330"/>
            <ac:spMk id="3" creationId="{281105C5-44E1-6128-D52F-2586EB705ADC}"/>
          </ac:spMkLst>
        </pc:spChg>
        <pc:spChg chg="mod">
          <ac:chgData name="Hendrik Künnemann" userId="42049411-02c5-422c-a22f-150aa89b4dd4" providerId="ADAL" clId="{578E8D60-8950-F04D-98B0-3C702F5FCA63}" dt="2024-05-17T16:13:46.715" v="3099" actId="207"/>
          <ac:spMkLst>
            <pc:docMk/>
            <pc:sldMk cId="636850645" sldId="330"/>
            <ac:spMk id="25" creationId="{AF50A492-B016-E8BE-92C2-E5C7EC0C2F59}"/>
          </ac:spMkLst>
        </pc:spChg>
        <pc:spChg chg="mod">
          <ac:chgData name="Hendrik Künnemann" userId="42049411-02c5-422c-a22f-150aa89b4dd4" providerId="ADAL" clId="{578E8D60-8950-F04D-98B0-3C702F5FCA63}" dt="2024-05-17T16:13:57.275" v="3101" actId="207"/>
          <ac:spMkLst>
            <pc:docMk/>
            <pc:sldMk cId="636850645" sldId="330"/>
            <ac:spMk id="45" creationId="{DED615AE-506A-D551-6E9C-3FE21CB2CD21}"/>
          </ac:spMkLst>
        </pc:spChg>
        <pc:spChg chg="mod">
          <ac:chgData name="Hendrik Künnemann" userId="42049411-02c5-422c-a22f-150aa89b4dd4" providerId="ADAL" clId="{578E8D60-8950-F04D-98B0-3C702F5FCA63}" dt="2024-05-17T16:13:46.715" v="3099" actId="207"/>
          <ac:spMkLst>
            <pc:docMk/>
            <pc:sldMk cId="636850645" sldId="330"/>
            <ac:spMk id="48" creationId="{555C60C6-3CDE-8906-2EF3-0CDB3CEC03E0}"/>
          </ac:spMkLst>
        </pc:spChg>
        <pc:graphicFrameChg chg="mod">
          <ac:chgData name="Hendrik Künnemann" userId="42049411-02c5-422c-a22f-150aa89b4dd4" providerId="ADAL" clId="{578E8D60-8950-F04D-98B0-3C702F5FCA63}" dt="2024-05-17T16:13:53.049" v="3100" actId="167"/>
          <ac:graphicFrameMkLst>
            <pc:docMk/>
            <pc:sldMk cId="636850645" sldId="330"/>
            <ac:graphicFrameMk id="39" creationId="{DA0A86B0-0CE2-40A9-A1B7-234403706DDF}"/>
          </ac:graphicFrameMkLst>
        </pc:graphicFrameChg>
        <pc:graphicFrameChg chg="mod modGraphic">
          <ac:chgData name="Hendrik Künnemann" userId="42049411-02c5-422c-a22f-150aa89b4dd4" providerId="ADAL" clId="{578E8D60-8950-F04D-98B0-3C702F5FCA63}" dt="2024-05-17T16:10:38.188" v="3076" actId="20577"/>
          <ac:graphicFrameMkLst>
            <pc:docMk/>
            <pc:sldMk cId="636850645" sldId="330"/>
            <ac:graphicFrameMk id="321" creationId="{4EC4A380-33EE-E608-DFC4-151D4DE1672A}"/>
          </ac:graphicFrameMkLst>
        </pc:graphicFrameChg>
        <pc:cxnChg chg="mod">
          <ac:chgData name="Hendrik Künnemann" userId="42049411-02c5-422c-a22f-150aa89b4dd4" providerId="ADAL" clId="{578E8D60-8950-F04D-98B0-3C702F5FCA63}" dt="2024-05-17T16:18:22.903" v="3145" actId="1076"/>
          <ac:cxnSpMkLst>
            <pc:docMk/>
            <pc:sldMk cId="636850645" sldId="330"/>
            <ac:cxnSpMk id="35" creationId="{EFCB2A8B-77BE-8B08-08BA-08A914A85658}"/>
          </ac:cxnSpMkLst>
        </pc:cxnChg>
      </pc:sldChg>
      <pc:sldChg chg="add mod modShow">
        <pc:chgData name="Hendrik Künnemann" userId="42049411-02c5-422c-a22f-150aa89b4dd4" providerId="ADAL" clId="{578E8D60-8950-F04D-98B0-3C702F5FCA63}" dt="2024-05-17T15:24:26.402" v="2782" actId="729"/>
        <pc:sldMkLst>
          <pc:docMk/>
          <pc:sldMk cId="2914277370" sldId="331"/>
        </pc:sldMkLst>
      </pc:sldChg>
      <pc:sldChg chg="addSp modSp add mod">
        <pc:chgData name="Hendrik Künnemann" userId="42049411-02c5-422c-a22f-150aa89b4dd4" providerId="ADAL" clId="{578E8D60-8950-F04D-98B0-3C702F5FCA63}" dt="2024-05-17T16:13:13.458" v="3097" actId="207"/>
        <pc:sldMkLst>
          <pc:docMk/>
          <pc:sldMk cId="185095388" sldId="332"/>
        </pc:sldMkLst>
        <pc:spChg chg="add mod">
          <ac:chgData name="Hendrik Künnemann" userId="42049411-02c5-422c-a22f-150aa89b4dd4" providerId="ADAL" clId="{578E8D60-8950-F04D-98B0-3C702F5FCA63}" dt="2024-05-17T16:12:09.779" v="3087" actId="14100"/>
          <ac:spMkLst>
            <pc:docMk/>
            <pc:sldMk cId="185095388" sldId="332"/>
            <ac:spMk id="4" creationId="{B3EF7DA6-AD96-645A-EE73-0FAF0C9223E0}"/>
          </ac:spMkLst>
        </pc:spChg>
        <pc:spChg chg="add mod">
          <ac:chgData name="Hendrik Künnemann" userId="42049411-02c5-422c-a22f-150aa89b4dd4" providerId="ADAL" clId="{578E8D60-8950-F04D-98B0-3C702F5FCA63}" dt="2024-05-17T16:12:30.219" v="3092" actId="571"/>
          <ac:spMkLst>
            <pc:docMk/>
            <pc:sldMk cId="185095388" sldId="332"/>
            <ac:spMk id="5" creationId="{180B94DB-E901-7733-DD40-F4461253275C}"/>
          </ac:spMkLst>
        </pc:spChg>
        <pc:spChg chg="mod">
          <ac:chgData name="Hendrik Künnemann" userId="42049411-02c5-422c-a22f-150aa89b4dd4" providerId="ADAL" clId="{578E8D60-8950-F04D-98B0-3C702F5FCA63}" dt="2024-05-17T16:13:13.458" v="3097" actId="207"/>
          <ac:spMkLst>
            <pc:docMk/>
            <pc:sldMk cId="185095388" sldId="332"/>
            <ac:spMk id="11" creationId="{35CE3C19-6A79-322B-8470-E2318F4F33B3}"/>
          </ac:spMkLst>
        </pc:spChg>
        <pc:spChg chg="mod">
          <ac:chgData name="Hendrik Künnemann" userId="42049411-02c5-422c-a22f-150aa89b4dd4" providerId="ADAL" clId="{578E8D60-8950-F04D-98B0-3C702F5FCA63}" dt="2024-05-17T16:12:59.523" v="3096" actId="207"/>
          <ac:spMkLst>
            <pc:docMk/>
            <pc:sldMk cId="185095388" sldId="332"/>
            <ac:spMk id="25" creationId="{AF50A492-B016-E8BE-92C2-E5C7EC0C2F59}"/>
          </ac:spMkLst>
        </pc:spChg>
        <pc:spChg chg="mod">
          <ac:chgData name="Hendrik Künnemann" userId="42049411-02c5-422c-a22f-150aa89b4dd4" providerId="ADAL" clId="{578E8D60-8950-F04D-98B0-3C702F5FCA63}" dt="2024-05-17T16:12:17.774" v="3089" actId="1076"/>
          <ac:spMkLst>
            <pc:docMk/>
            <pc:sldMk cId="185095388" sldId="332"/>
            <ac:spMk id="26" creationId="{CBA1AAD0-6D7B-083C-8A3C-4D9FC143648D}"/>
          </ac:spMkLst>
        </pc:spChg>
        <pc:spChg chg="mod">
          <ac:chgData name="Hendrik Künnemann" userId="42049411-02c5-422c-a22f-150aa89b4dd4" providerId="ADAL" clId="{578E8D60-8950-F04D-98B0-3C702F5FCA63}" dt="2024-05-17T16:12:26.018" v="3091" actId="14100"/>
          <ac:spMkLst>
            <pc:docMk/>
            <pc:sldMk cId="185095388" sldId="332"/>
            <ac:spMk id="30" creationId="{BE927285-AD03-084A-6F7D-60BE64BB0379}"/>
          </ac:spMkLst>
        </pc:spChg>
        <pc:spChg chg="mod">
          <ac:chgData name="Hendrik Künnemann" userId="42049411-02c5-422c-a22f-150aa89b4dd4" providerId="ADAL" clId="{578E8D60-8950-F04D-98B0-3C702F5FCA63}" dt="2024-05-17T16:13:13.458" v="3097" actId="207"/>
          <ac:spMkLst>
            <pc:docMk/>
            <pc:sldMk cId="185095388" sldId="332"/>
            <ac:spMk id="32" creationId="{489EFF2F-CA22-105C-8741-9F9E90168724}"/>
          </ac:spMkLst>
        </pc:spChg>
        <pc:spChg chg="mod">
          <ac:chgData name="Hendrik Künnemann" userId="42049411-02c5-422c-a22f-150aa89b4dd4" providerId="ADAL" clId="{578E8D60-8950-F04D-98B0-3C702F5FCA63}" dt="2024-05-17T16:13:13.458" v="3097" actId="207"/>
          <ac:spMkLst>
            <pc:docMk/>
            <pc:sldMk cId="185095388" sldId="332"/>
            <ac:spMk id="35" creationId="{4DE65AFA-27B2-6FE0-C0B3-4A32EC0E2053}"/>
          </ac:spMkLst>
        </pc:spChg>
        <pc:spChg chg="mod">
          <ac:chgData name="Hendrik Künnemann" userId="42049411-02c5-422c-a22f-150aa89b4dd4" providerId="ADAL" clId="{578E8D60-8950-F04D-98B0-3C702F5FCA63}" dt="2024-05-17T16:12:50.052" v="3095" actId="1037"/>
          <ac:spMkLst>
            <pc:docMk/>
            <pc:sldMk cId="185095388" sldId="332"/>
            <ac:spMk id="43" creationId="{5A8E1E2C-FCE6-BB81-78AA-AB60D2883262}"/>
          </ac:spMkLst>
        </pc:spChg>
        <pc:spChg chg="mod">
          <ac:chgData name="Hendrik Künnemann" userId="42049411-02c5-422c-a22f-150aa89b4dd4" providerId="ADAL" clId="{578E8D60-8950-F04D-98B0-3C702F5FCA63}" dt="2024-05-17T16:12:41.136" v="3093" actId="1076"/>
          <ac:spMkLst>
            <pc:docMk/>
            <pc:sldMk cId="185095388" sldId="332"/>
            <ac:spMk id="49" creationId="{C881E14A-E9E4-4B08-F963-8CA567C4BB3F}"/>
          </ac:spMkLst>
        </pc:spChg>
        <pc:spChg chg="mod">
          <ac:chgData name="Hendrik Künnemann" userId="42049411-02c5-422c-a22f-150aa89b4dd4" providerId="ADAL" clId="{578E8D60-8950-F04D-98B0-3C702F5FCA63}" dt="2024-05-17T16:12:41.136" v="3093" actId="1076"/>
          <ac:spMkLst>
            <pc:docMk/>
            <pc:sldMk cId="185095388" sldId="332"/>
            <ac:spMk id="51" creationId="{D4733507-C3D3-6E57-D01C-B6852151BEA8}"/>
          </ac:spMkLst>
        </pc:spChg>
        <pc:cxnChg chg="mod">
          <ac:chgData name="Hendrik Künnemann" userId="42049411-02c5-422c-a22f-150aa89b4dd4" providerId="ADAL" clId="{578E8D60-8950-F04D-98B0-3C702F5FCA63}" dt="2024-05-17T16:12:50.052" v="3095" actId="1037"/>
          <ac:cxnSpMkLst>
            <pc:docMk/>
            <pc:sldMk cId="185095388" sldId="332"/>
            <ac:cxnSpMk id="59" creationId="{E05D725B-7B99-339F-0DC4-D9EB84AED048}"/>
          </ac:cxnSpMkLst>
        </pc:cxnChg>
        <pc:cxnChg chg="mod">
          <ac:chgData name="Hendrik Künnemann" userId="42049411-02c5-422c-a22f-150aa89b4dd4" providerId="ADAL" clId="{578E8D60-8950-F04D-98B0-3C702F5FCA63}" dt="2024-05-17T16:12:41.136" v="3093" actId="1076"/>
          <ac:cxnSpMkLst>
            <pc:docMk/>
            <pc:sldMk cId="185095388" sldId="332"/>
            <ac:cxnSpMk id="62" creationId="{B2F50885-2FD7-58A3-DB03-F06D9048C023}"/>
          </ac:cxnSpMkLst>
        </pc:cxnChg>
      </pc:sldChg>
      <pc:sldChg chg="delSp modSp add del mod">
        <pc:chgData name="Hendrik Künnemann" userId="42049411-02c5-422c-a22f-150aa89b4dd4" providerId="ADAL" clId="{578E8D60-8950-F04D-98B0-3C702F5FCA63}" dt="2024-05-17T17:03:05.911" v="3192" actId="2696"/>
        <pc:sldMkLst>
          <pc:docMk/>
          <pc:sldMk cId="1508882462" sldId="334"/>
        </pc:sldMkLst>
        <pc:spChg chg="mod">
          <ac:chgData name="Hendrik Künnemann" userId="42049411-02c5-422c-a22f-150aa89b4dd4" providerId="ADAL" clId="{578E8D60-8950-F04D-98B0-3C702F5FCA63}" dt="2024-05-17T17:02:51.757" v="3190" actId="1076"/>
          <ac:spMkLst>
            <pc:docMk/>
            <pc:sldMk cId="1508882462" sldId="334"/>
            <ac:spMk id="2" creationId="{5E8338A6-6DF9-FD23-982A-EC401F20B21F}"/>
          </ac:spMkLst>
        </pc:spChg>
        <pc:picChg chg="del">
          <ac:chgData name="Hendrik Künnemann" userId="42049411-02c5-422c-a22f-150aa89b4dd4" providerId="ADAL" clId="{578E8D60-8950-F04D-98B0-3C702F5FCA63}" dt="2024-05-17T17:02:56.894" v="3191" actId="478"/>
          <ac:picMkLst>
            <pc:docMk/>
            <pc:sldMk cId="1508882462" sldId="334"/>
            <ac:picMk id="1026" creationId="{94FE8556-AA99-EEFD-2E3A-0906133CAD64}"/>
          </ac:picMkLst>
        </pc:picChg>
      </pc:sldChg>
    </pc:docChg>
  </pc:docChgLst>
  <pc:docChgLst>
    <pc:chgData name="Zeno Eule" userId="2181db0d-9eef-459a-8936-2b35df8d15f4" providerId="ADAL" clId="{A60F5893-C5AB-461D-B404-4BC35AFC435E}"/>
    <pc:docChg chg="undo custSel addSld delSld modSld modMainMaster">
      <pc:chgData name="Zeno Eule" userId="2181db0d-9eef-459a-8936-2b35df8d15f4" providerId="ADAL" clId="{A60F5893-C5AB-461D-B404-4BC35AFC435E}" dt="2024-05-01T11:54:33.902" v="682" actId="1076"/>
      <pc:docMkLst>
        <pc:docMk/>
      </pc:docMkLst>
      <pc:sldChg chg="addSp delSp modSp mod">
        <pc:chgData name="Zeno Eule" userId="2181db0d-9eef-459a-8936-2b35df8d15f4" providerId="ADAL" clId="{A60F5893-C5AB-461D-B404-4BC35AFC435E}" dt="2024-05-01T11:37:17.558" v="347" actId="20577"/>
        <pc:sldMkLst>
          <pc:docMk/>
          <pc:sldMk cId="2401001035" sldId="300"/>
        </pc:sldMkLst>
        <pc:spChg chg="mod">
          <ac:chgData name="Zeno Eule" userId="2181db0d-9eef-459a-8936-2b35df8d15f4" providerId="ADAL" clId="{A60F5893-C5AB-461D-B404-4BC35AFC435E}" dt="2024-05-01T11:32:43.704" v="136" actId="20577"/>
          <ac:spMkLst>
            <pc:docMk/>
            <pc:sldMk cId="2401001035" sldId="300"/>
            <ac:spMk id="3" creationId="{ED8E5DDE-5D4E-CDAE-6599-6967AAAF378D}"/>
          </ac:spMkLst>
        </pc:spChg>
        <pc:spChg chg="mod">
          <ac:chgData name="Zeno Eule" userId="2181db0d-9eef-459a-8936-2b35df8d15f4" providerId="ADAL" clId="{A60F5893-C5AB-461D-B404-4BC35AFC435E}" dt="2024-05-01T11:37:17.558" v="347" actId="20577"/>
          <ac:spMkLst>
            <pc:docMk/>
            <pc:sldMk cId="2401001035" sldId="300"/>
            <ac:spMk id="4" creationId="{6C9FD9ED-BDC2-080D-7C01-5BD5C9EFD45C}"/>
          </ac:spMkLst>
        </pc:spChg>
        <pc:spChg chg="mod">
          <ac:chgData name="Zeno Eule" userId="2181db0d-9eef-459a-8936-2b35df8d15f4" providerId="ADAL" clId="{A60F5893-C5AB-461D-B404-4BC35AFC435E}" dt="2024-05-01T11:33:24.994" v="150" actId="20577"/>
          <ac:spMkLst>
            <pc:docMk/>
            <pc:sldMk cId="2401001035" sldId="300"/>
            <ac:spMk id="5" creationId="{D82033B0-7937-C1FB-F944-3ED8D21FF092}"/>
          </ac:spMkLst>
        </pc:spChg>
        <pc:spChg chg="add del">
          <ac:chgData name="Zeno Eule" userId="2181db0d-9eef-459a-8936-2b35df8d15f4" providerId="ADAL" clId="{A60F5893-C5AB-461D-B404-4BC35AFC435E}" dt="2024-05-01T11:35:29.762" v="151" actId="478"/>
          <ac:spMkLst>
            <pc:docMk/>
            <pc:sldMk cId="2401001035" sldId="300"/>
            <ac:spMk id="9" creationId="{895C697D-1467-17B3-BD4E-BE5BC2C8099E}"/>
          </ac:spMkLst>
        </pc:spChg>
        <pc:spChg chg="del">
          <ac:chgData name="Zeno Eule" userId="2181db0d-9eef-459a-8936-2b35df8d15f4" providerId="ADAL" clId="{A60F5893-C5AB-461D-B404-4BC35AFC435E}" dt="2024-05-01T11:28:11.040" v="17" actId="478"/>
          <ac:spMkLst>
            <pc:docMk/>
            <pc:sldMk cId="2401001035" sldId="300"/>
            <ac:spMk id="12" creationId="{F4155AC3-07AE-506D-576B-82D1CD7CFE2A}"/>
          </ac:spMkLst>
        </pc:spChg>
        <pc:picChg chg="del">
          <ac:chgData name="Zeno Eule" userId="2181db0d-9eef-459a-8936-2b35df8d15f4" providerId="ADAL" clId="{A60F5893-C5AB-461D-B404-4BC35AFC435E}" dt="2024-05-01T11:35:31.286" v="152" actId="478"/>
          <ac:picMkLst>
            <pc:docMk/>
            <pc:sldMk cId="2401001035" sldId="300"/>
            <ac:picMk id="1028" creationId="{E3780E68-A170-E15E-FABB-79F744DA028C}"/>
          </ac:picMkLst>
        </pc:picChg>
      </pc:sldChg>
      <pc:sldChg chg="del">
        <pc:chgData name="Zeno Eule" userId="2181db0d-9eef-459a-8936-2b35df8d15f4" providerId="ADAL" clId="{A60F5893-C5AB-461D-B404-4BC35AFC435E}" dt="2024-05-01T11:27:08.608" v="5" actId="47"/>
        <pc:sldMkLst>
          <pc:docMk/>
          <pc:sldMk cId="552044839" sldId="301"/>
        </pc:sldMkLst>
      </pc:sldChg>
      <pc:sldChg chg="modSp new mod">
        <pc:chgData name="Zeno Eule" userId="2181db0d-9eef-459a-8936-2b35df8d15f4" providerId="ADAL" clId="{A60F5893-C5AB-461D-B404-4BC35AFC435E}" dt="2024-05-01T11:36:04.319" v="211" actId="20577"/>
        <pc:sldMkLst>
          <pc:docMk/>
          <pc:sldMk cId="3447828351" sldId="301"/>
        </pc:sldMkLst>
        <pc:spChg chg="mod">
          <ac:chgData name="Zeno Eule" userId="2181db0d-9eef-459a-8936-2b35df8d15f4" providerId="ADAL" clId="{A60F5893-C5AB-461D-B404-4BC35AFC435E}" dt="2024-05-01T11:36:04.319" v="211" actId="20577"/>
          <ac:spMkLst>
            <pc:docMk/>
            <pc:sldMk cId="3447828351" sldId="301"/>
            <ac:spMk id="3" creationId="{EBD4A69F-E550-7DD9-1AAB-9658D13D23E0}"/>
          </ac:spMkLst>
        </pc:spChg>
      </pc:sldChg>
      <pc:sldChg chg="modSp add mod">
        <pc:chgData name="Zeno Eule" userId="2181db0d-9eef-459a-8936-2b35df8d15f4" providerId="ADAL" clId="{A60F5893-C5AB-461D-B404-4BC35AFC435E}" dt="2024-05-01T11:36:29.562" v="253" actId="20577"/>
        <pc:sldMkLst>
          <pc:docMk/>
          <pc:sldMk cId="2316642031" sldId="302"/>
        </pc:sldMkLst>
        <pc:spChg chg="mod">
          <ac:chgData name="Zeno Eule" userId="2181db0d-9eef-459a-8936-2b35df8d15f4" providerId="ADAL" clId="{A60F5893-C5AB-461D-B404-4BC35AFC435E}" dt="2024-05-01T11:36:29.562" v="253" actId="20577"/>
          <ac:spMkLst>
            <pc:docMk/>
            <pc:sldMk cId="2316642031" sldId="302"/>
            <ac:spMk id="3" creationId="{EBD4A69F-E550-7DD9-1AAB-9658D13D23E0}"/>
          </ac:spMkLst>
        </pc:spChg>
      </pc:sldChg>
      <pc:sldChg chg="del">
        <pc:chgData name="Zeno Eule" userId="2181db0d-9eef-459a-8936-2b35df8d15f4" providerId="ADAL" clId="{A60F5893-C5AB-461D-B404-4BC35AFC435E}" dt="2024-05-01T11:27:07.312" v="3" actId="47"/>
        <pc:sldMkLst>
          <pc:docMk/>
          <pc:sldMk cId="108714200" sldId="303"/>
        </pc:sldMkLst>
      </pc:sldChg>
      <pc:sldChg chg="addSp delSp modSp add mod">
        <pc:chgData name="Zeno Eule" userId="2181db0d-9eef-459a-8936-2b35df8d15f4" providerId="ADAL" clId="{A60F5893-C5AB-461D-B404-4BC35AFC435E}" dt="2024-05-01T11:54:33.902" v="682" actId="1076"/>
        <pc:sldMkLst>
          <pc:docMk/>
          <pc:sldMk cId="2624028106" sldId="303"/>
        </pc:sldMkLst>
        <pc:spChg chg="mod">
          <ac:chgData name="Zeno Eule" userId="2181db0d-9eef-459a-8936-2b35df8d15f4" providerId="ADAL" clId="{A60F5893-C5AB-461D-B404-4BC35AFC435E}" dt="2024-05-01T11:37:08.271" v="343" actId="33524"/>
          <ac:spMkLst>
            <pc:docMk/>
            <pc:sldMk cId="2624028106" sldId="303"/>
            <ac:spMk id="3" creationId="{EBD4A69F-E550-7DD9-1AAB-9658D13D23E0}"/>
          </ac:spMkLst>
        </pc:spChg>
        <pc:spChg chg="add del mod">
          <ac:chgData name="Zeno Eule" userId="2181db0d-9eef-459a-8936-2b35df8d15f4" providerId="ADAL" clId="{A60F5893-C5AB-461D-B404-4BC35AFC435E}" dt="2024-05-01T11:45:28.891" v="443" actId="478"/>
          <ac:spMkLst>
            <pc:docMk/>
            <pc:sldMk cId="2624028106" sldId="303"/>
            <ac:spMk id="4" creationId="{3D3B0D9A-7A45-7A5F-C9CB-88A4B5C523B8}"/>
          </ac:spMkLst>
        </pc:spChg>
        <pc:spChg chg="add del mod">
          <ac:chgData name="Zeno Eule" userId="2181db0d-9eef-459a-8936-2b35df8d15f4" providerId="ADAL" clId="{A60F5893-C5AB-461D-B404-4BC35AFC435E}" dt="2024-05-01T11:43:50.134" v="420" actId="478"/>
          <ac:spMkLst>
            <pc:docMk/>
            <pc:sldMk cId="2624028106" sldId="303"/>
            <ac:spMk id="5" creationId="{7CD2540A-3098-71B8-D2C6-B22018E70627}"/>
          </ac:spMkLst>
        </pc:spChg>
        <pc:spChg chg="add mod">
          <ac:chgData name="Zeno Eule" userId="2181db0d-9eef-459a-8936-2b35df8d15f4" providerId="ADAL" clId="{A60F5893-C5AB-461D-B404-4BC35AFC435E}" dt="2024-05-01T11:54:28.982" v="680" actId="20577"/>
          <ac:spMkLst>
            <pc:docMk/>
            <pc:sldMk cId="2624028106" sldId="303"/>
            <ac:spMk id="6" creationId="{CCFB6F16-1A0A-E13F-38AF-D2A4DC941E41}"/>
          </ac:spMkLst>
        </pc:spChg>
        <pc:spChg chg="add mod">
          <ac:chgData name="Zeno Eule" userId="2181db0d-9eef-459a-8936-2b35df8d15f4" providerId="ADAL" clId="{A60F5893-C5AB-461D-B404-4BC35AFC435E}" dt="2024-05-01T11:53:36.911" v="638" actId="3064"/>
          <ac:spMkLst>
            <pc:docMk/>
            <pc:sldMk cId="2624028106" sldId="303"/>
            <ac:spMk id="13" creationId="{7600CA5C-8404-6C89-D2ED-940F273B887C}"/>
          </ac:spMkLst>
        </pc:spChg>
        <pc:picChg chg="add del mod">
          <ac:chgData name="Zeno Eule" userId="2181db0d-9eef-459a-8936-2b35df8d15f4" providerId="ADAL" clId="{A60F5893-C5AB-461D-B404-4BC35AFC435E}" dt="2024-05-01T11:49:01.367" v="597" actId="478"/>
          <ac:picMkLst>
            <pc:docMk/>
            <pc:sldMk cId="2624028106" sldId="303"/>
            <ac:picMk id="8" creationId="{B538D8F0-C15E-8BCD-E5E7-EAA1D0B7F2BE}"/>
          </ac:picMkLst>
        </pc:picChg>
        <pc:picChg chg="add mod">
          <ac:chgData name="Zeno Eule" userId="2181db0d-9eef-459a-8936-2b35df8d15f4" providerId="ADAL" clId="{A60F5893-C5AB-461D-B404-4BC35AFC435E}" dt="2024-05-01T11:54:33.902" v="682" actId="1076"/>
          <ac:picMkLst>
            <pc:docMk/>
            <pc:sldMk cId="2624028106" sldId="303"/>
            <ac:picMk id="10" creationId="{377B79FD-BEF8-9AEA-5499-FCC95AF1260D}"/>
          </ac:picMkLst>
        </pc:picChg>
        <pc:picChg chg="add mod">
          <ac:chgData name="Zeno Eule" userId="2181db0d-9eef-459a-8936-2b35df8d15f4" providerId="ADAL" clId="{A60F5893-C5AB-461D-B404-4BC35AFC435E}" dt="2024-05-01T11:49:18.842" v="600" actId="1076"/>
          <ac:picMkLst>
            <pc:docMk/>
            <pc:sldMk cId="2624028106" sldId="303"/>
            <ac:picMk id="12" creationId="{AC14FF49-1498-E866-919E-876EAD80DEC7}"/>
          </ac:picMkLst>
        </pc:picChg>
      </pc:sldChg>
      <pc:sldChg chg="modSp add mod">
        <pc:chgData name="Zeno Eule" userId="2181db0d-9eef-459a-8936-2b35df8d15f4" providerId="ADAL" clId="{A60F5893-C5AB-461D-B404-4BC35AFC435E}" dt="2024-05-01T11:38:11.468" v="389" actId="20577"/>
        <pc:sldMkLst>
          <pc:docMk/>
          <pc:sldMk cId="1384387329" sldId="304"/>
        </pc:sldMkLst>
        <pc:spChg chg="mod">
          <ac:chgData name="Zeno Eule" userId="2181db0d-9eef-459a-8936-2b35df8d15f4" providerId="ADAL" clId="{A60F5893-C5AB-461D-B404-4BC35AFC435E}" dt="2024-05-01T11:38:11.468" v="389" actId="20577"/>
          <ac:spMkLst>
            <pc:docMk/>
            <pc:sldMk cId="1384387329" sldId="304"/>
            <ac:spMk id="3" creationId="{EBD4A69F-E550-7DD9-1AAB-9658D13D23E0}"/>
          </ac:spMkLst>
        </pc:spChg>
      </pc:sldChg>
      <pc:sldChg chg="del">
        <pc:chgData name="Zeno Eule" userId="2181db0d-9eef-459a-8936-2b35df8d15f4" providerId="ADAL" clId="{A60F5893-C5AB-461D-B404-4BC35AFC435E}" dt="2024-05-01T11:27:06.947" v="0" actId="47"/>
        <pc:sldMkLst>
          <pc:docMk/>
          <pc:sldMk cId="2852324942" sldId="304"/>
        </pc:sldMkLst>
      </pc:sldChg>
      <pc:sldChg chg="modSp add mod">
        <pc:chgData name="Zeno Eule" userId="2181db0d-9eef-459a-8936-2b35df8d15f4" providerId="ADAL" clId="{A60F5893-C5AB-461D-B404-4BC35AFC435E}" dt="2024-05-01T11:38:56.964" v="405" actId="20577"/>
        <pc:sldMkLst>
          <pc:docMk/>
          <pc:sldMk cId="592031144" sldId="305"/>
        </pc:sldMkLst>
        <pc:spChg chg="mod">
          <ac:chgData name="Zeno Eule" userId="2181db0d-9eef-459a-8936-2b35df8d15f4" providerId="ADAL" clId="{A60F5893-C5AB-461D-B404-4BC35AFC435E}" dt="2024-05-01T11:38:56.964" v="405" actId="20577"/>
          <ac:spMkLst>
            <pc:docMk/>
            <pc:sldMk cId="592031144" sldId="305"/>
            <ac:spMk id="3" creationId="{EBD4A69F-E550-7DD9-1AAB-9658D13D23E0}"/>
          </ac:spMkLst>
        </pc:spChg>
      </pc:sldChg>
      <pc:sldChg chg="del">
        <pc:chgData name="Zeno Eule" userId="2181db0d-9eef-459a-8936-2b35df8d15f4" providerId="ADAL" clId="{A60F5893-C5AB-461D-B404-4BC35AFC435E}" dt="2024-05-01T11:27:07.046" v="1" actId="47"/>
        <pc:sldMkLst>
          <pc:docMk/>
          <pc:sldMk cId="3562250698" sldId="305"/>
        </pc:sldMkLst>
      </pc:sldChg>
      <pc:sldChg chg="del">
        <pc:chgData name="Zeno Eule" userId="2181db0d-9eef-459a-8936-2b35df8d15f4" providerId="ADAL" clId="{A60F5893-C5AB-461D-B404-4BC35AFC435E}" dt="2024-05-01T11:27:07.172" v="2" actId="47"/>
        <pc:sldMkLst>
          <pc:docMk/>
          <pc:sldMk cId="786580177" sldId="306"/>
        </pc:sldMkLst>
      </pc:sldChg>
      <pc:sldChg chg="del">
        <pc:chgData name="Zeno Eule" userId="2181db0d-9eef-459a-8936-2b35df8d15f4" providerId="ADAL" clId="{A60F5893-C5AB-461D-B404-4BC35AFC435E}" dt="2024-05-01T11:27:07.836" v="4" actId="47"/>
        <pc:sldMkLst>
          <pc:docMk/>
          <pc:sldMk cId="2189657047" sldId="307"/>
        </pc:sldMkLst>
      </pc:sldChg>
      <pc:sldMasterChg chg="modSldLayout">
        <pc:chgData name="Zeno Eule" userId="2181db0d-9eef-459a-8936-2b35df8d15f4" providerId="ADAL" clId="{A60F5893-C5AB-461D-B404-4BC35AFC435E}" dt="2024-05-01T11:53:21.263" v="630" actId="478"/>
        <pc:sldMasterMkLst>
          <pc:docMk/>
          <pc:sldMasterMk cId="3249716214" sldId="2147483661"/>
        </pc:sldMasterMkLst>
        <pc:sldLayoutChg chg="addSp delSp modSp mod">
          <pc:chgData name="Zeno Eule" userId="2181db0d-9eef-459a-8936-2b35df8d15f4" providerId="ADAL" clId="{A60F5893-C5AB-461D-B404-4BC35AFC435E}" dt="2024-05-01T11:53:21.263" v="630" actId="478"/>
          <pc:sldLayoutMkLst>
            <pc:docMk/>
            <pc:sldMasterMk cId="3249716214" sldId="2147483661"/>
            <pc:sldLayoutMk cId="3750836285" sldId="2147483662"/>
          </pc:sldLayoutMkLst>
          <pc:spChg chg="add del mod">
            <ac:chgData name="Zeno Eule" userId="2181db0d-9eef-459a-8936-2b35df8d15f4" providerId="ADAL" clId="{A60F5893-C5AB-461D-B404-4BC35AFC435E}" dt="2024-05-01T11:45:16.097" v="441" actId="478"/>
            <ac:spMkLst>
              <pc:docMk/>
              <pc:sldMasterMk cId="3249716214" sldId="2147483661"/>
              <pc:sldLayoutMk cId="3750836285" sldId="2147483662"/>
              <ac:spMk id="2" creationId="{497E647B-9EB0-B290-8DE1-0AE99D46D2AB}"/>
            </ac:spMkLst>
          </pc:spChg>
          <pc:spChg chg="add del mod">
            <ac:chgData name="Zeno Eule" userId="2181db0d-9eef-459a-8936-2b35df8d15f4" providerId="ADAL" clId="{A60F5893-C5AB-461D-B404-4BC35AFC435E}" dt="2024-05-01T11:53:21.263" v="630" actId="478"/>
            <ac:spMkLst>
              <pc:docMk/>
              <pc:sldMasterMk cId="3249716214" sldId="2147483661"/>
              <pc:sldLayoutMk cId="3750836285" sldId="2147483662"/>
              <ac:spMk id="3" creationId="{023387F0-4FC3-3FDB-718F-94DA0E050444}"/>
            </ac:spMkLst>
          </pc:spChg>
          <pc:spChg chg="del mod">
            <ac:chgData name="Zeno Eule" userId="2181db0d-9eef-459a-8936-2b35df8d15f4" providerId="ADAL" clId="{A60F5893-C5AB-461D-B404-4BC35AFC435E}" dt="2024-05-01T11:27:42.715" v="14" actId="478"/>
            <ac:spMkLst>
              <pc:docMk/>
              <pc:sldMasterMk cId="3249716214" sldId="2147483661"/>
              <pc:sldLayoutMk cId="3750836285" sldId="2147483662"/>
              <ac:spMk id="7" creationId="{00000000-0000-0000-0000-000000000000}"/>
            </ac:spMkLst>
          </pc:spChg>
        </pc:sldLayoutChg>
        <pc:sldLayoutChg chg="delSp mod">
          <pc:chgData name="Zeno Eule" userId="2181db0d-9eef-459a-8936-2b35df8d15f4" providerId="ADAL" clId="{A60F5893-C5AB-461D-B404-4BC35AFC435E}" dt="2024-05-01T11:27:47.744" v="15" actId="478"/>
          <pc:sldLayoutMkLst>
            <pc:docMk/>
            <pc:sldMasterMk cId="3249716214" sldId="2147483661"/>
            <pc:sldLayoutMk cId="3242066465" sldId="2147483663"/>
          </pc:sldLayoutMkLst>
          <pc:spChg chg="del">
            <ac:chgData name="Zeno Eule" userId="2181db0d-9eef-459a-8936-2b35df8d15f4" providerId="ADAL" clId="{A60F5893-C5AB-461D-B404-4BC35AFC435E}" dt="2024-05-01T11:27:47.744" v="15" actId="478"/>
            <ac:spMkLst>
              <pc:docMk/>
              <pc:sldMasterMk cId="3249716214" sldId="2147483661"/>
              <pc:sldLayoutMk cId="3242066465" sldId="2147483663"/>
              <ac:spMk id="7" creationId="{00000000-0000-0000-0000-000000000000}"/>
            </ac:spMkLst>
          </pc:spChg>
        </pc:sldLayoutChg>
        <pc:sldLayoutChg chg="delSp mod">
          <pc:chgData name="Zeno Eule" userId="2181db0d-9eef-459a-8936-2b35df8d15f4" providerId="ADAL" clId="{A60F5893-C5AB-461D-B404-4BC35AFC435E}" dt="2024-05-01T11:27:52.626" v="16" actId="478"/>
          <pc:sldLayoutMkLst>
            <pc:docMk/>
            <pc:sldMasterMk cId="3249716214" sldId="2147483661"/>
            <pc:sldLayoutMk cId="1623443730" sldId="2147483666"/>
          </pc:sldLayoutMkLst>
          <pc:spChg chg="del">
            <ac:chgData name="Zeno Eule" userId="2181db0d-9eef-459a-8936-2b35df8d15f4" providerId="ADAL" clId="{A60F5893-C5AB-461D-B404-4BC35AFC435E}" dt="2024-05-01T11:27:52.626" v="16" actId="478"/>
            <ac:spMkLst>
              <pc:docMk/>
              <pc:sldMasterMk cId="3249716214" sldId="2147483661"/>
              <pc:sldLayoutMk cId="1623443730" sldId="2147483666"/>
              <ac:spMk id="7" creationId="{00000000-0000-0000-0000-000000000000}"/>
            </ac:spMkLst>
          </pc:spChg>
        </pc:sldLayoutChg>
      </pc:sldMasterChg>
    </pc:docChg>
  </pc:docChgLst>
  <pc:docChgLst>
    <pc:chgData name="Moritz Lind" userId="S::61230@novasbe.pt::3c46de29-e3d8-46a3-bade-23b6b6ccc123" providerId="AD" clId="Web-{2D125AB4-EA99-AAA6-D8C6-06307377EB3C}"/>
    <pc:docChg chg="addSld delSld modSld sldOrd">
      <pc:chgData name="Moritz Lind" userId="S::61230@novasbe.pt::3c46de29-e3d8-46a3-bade-23b6b6ccc123" providerId="AD" clId="Web-{2D125AB4-EA99-AAA6-D8C6-06307377EB3C}" dt="2024-05-16T17:09:24.149" v="834" actId="1076"/>
      <pc:docMkLst>
        <pc:docMk/>
      </pc:docMkLst>
      <pc:sldChg chg="ord">
        <pc:chgData name="Moritz Lind" userId="S::61230@novasbe.pt::3c46de29-e3d8-46a3-bade-23b6b6ccc123" providerId="AD" clId="Web-{2D125AB4-EA99-AAA6-D8C6-06307377EB3C}" dt="2024-05-16T16:33:05.687" v="100"/>
        <pc:sldMkLst>
          <pc:docMk/>
          <pc:sldMk cId="3250682429" sldId="310"/>
        </pc:sldMkLst>
      </pc:sldChg>
      <pc:sldChg chg="ord">
        <pc:chgData name="Moritz Lind" userId="S::61230@novasbe.pt::3c46de29-e3d8-46a3-bade-23b6b6ccc123" providerId="AD" clId="Web-{2D125AB4-EA99-AAA6-D8C6-06307377EB3C}" dt="2024-05-16T16:33:05.687" v="99"/>
        <pc:sldMkLst>
          <pc:docMk/>
          <pc:sldMk cId="378897943" sldId="315"/>
        </pc:sldMkLst>
      </pc:sldChg>
      <pc:sldChg chg="ord">
        <pc:chgData name="Moritz Lind" userId="S::61230@novasbe.pt::3c46de29-e3d8-46a3-bade-23b6b6ccc123" providerId="AD" clId="Web-{2D125AB4-EA99-AAA6-D8C6-06307377EB3C}" dt="2024-05-16T16:33:05.687" v="98"/>
        <pc:sldMkLst>
          <pc:docMk/>
          <pc:sldMk cId="4162219401" sldId="316"/>
        </pc:sldMkLst>
      </pc:sldChg>
      <pc:sldChg chg="modSp">
        <pc:chgData name="Moritz Lind" userId="S::61230@novasbe.pt::3c46de29-e3d8-46a3-bade-23b6b6ccc123" providerId="AD" clId="Web-{2D125AB4-EA99-AAA6-D8C6-06307377EB3C}" dt="2024-05-16T16:31:56.557" v="97" actId="1076"/>
        <pc:sldMkLst>
          <pc:docMk/>
          <pc:sldMk cId="2970629482" sldId="321"/>
        </pc:sldMkLst>
        <pc:spChg chg="mod">
          <ac:chgData name="Moritz Lind" userId="S::61230@novasbe.pt::3c46de29-e3d8-46a3-bade-23b6b6ccc123" providerId="AD" clId="Web-{2D125AB4-EA99-AAA6-D8C6-06307377EB3C}" dt="2024-05-16T16:31:56.463" v="94" actId="1076"/>
          <ac:spMkLst>
            <pc:docMk/>
            <pc:sldMk cId="2970629482" sldId="321"/>
            <ac:spMk id="4" creationId="{029A1717-D749-9475-5E94-9E92A044E540}"/>
          </ac:spMkLst>
        </pc:spChg>
        <pc:spChg chg="mod">
          <ac:chgData name="Moritz Lind" userId="S::61230@novasbe.pt::3c46de29-e3d8-46a3-bade-23b6b6ccc123" providerId="AD" clId="Web-{2D125AB4-EA99-AAA6-D8C6-06307377EB3C}" dt="2024-05-16T16:31:56.557" v="97" actId="1076"/>
          <ac:spMkLst>
            <pc:docMk/>
            <pc:sldMk cId="2970629482" sldId="321"/>
            <ac:spMk id="14" creationId="{13AEE1E3-9434-EEFC-CDD7-0C263209BA0C}"/>
          </ac:spMkLst>
        </pc:spChg>
        <pc:spChg chg="mod">
          <ac:chgData name="Moritz Lind" userId="S::61230@novasbe.pt::3c46de29-e3d8-46a3-bade-23b6b6ccc123" providerId="AD" clId="Web-{2D125AB4-EA99-AAA6-D8C6-06307377EB3C}" dt="2024-05-16T16:31:56.417" v="90" actId="1076"/>
          <ac:spMkLst>
            <pc:docMk/>
            <pc:sldMk cId="2970629482" sldId="321"/>
            <ac:spMk id="25" creationId="{AF50A492-B016-E8BE-92C2-E5C7EC0C2F59}"/>
          </ac:spMkLst>
        </pc:spChg>
        <pc:spChg chg="mod">
          <ac:chgData name="Moritz Lind" userId="S::61230@novasbe.pt::3c46de29-e3d8-46a3-bade-23b6b6ccc123" providerId="AD" clId="Web-{2D125AB4-EA99-AAA6-D8C6-06307377EB3C}" dt="2024-05-16T16:31:56.417" v="91" actId="1076"/>
          <ac:spMkLst>
            <pc:docMk/>
            <pc:sldMk cId="2970629482" sldId="321"/>
            <ac:spMk id="26" creationId="{CBA1AAD0-6D7B-083C-8A3C-4D9FC143648D}"/>
          </ac:spMkLst>
        </pc:spChg>
        <pc:spChg chg="mod">
          <ac:chgData name="Moritz Lind" userId="S::61230@novasbe.pt::3c46de29-e3d8-46a3-bade-23b6b6ccc123" providerId="AD" clId="Web-{2D125AB4-EA99-AAA6-D8C6-06307377EB3C}" dt="2024-05-16T16:31:56.432" v="92" actId="1076"/>
          <ac:spMkLst>
            <pc:docMk/>
            <pc:sldMk cId="2970629482" sldId="321"/>
            <ac:spMk id="28" creationId="{4AAA4E85-0F92-1C8E-A8D9-E229FF14AF51}"/>
          </ac:spMkLst>
        </pc:spChg>
        <pc:spChg chg="mod">
          <ac:chgData name="Moritz Lind" userId="S::61230@novasbe.pt::3c46de29-e3d8-46a3-bade-23b6b6ccc123" providerId="AD" clId="Web-{2D125AB4-EA99-AAA6-D8C6-06307377EB3C}" dt="2024-05-16T16:31:56.448" v="93" actId="1076"/>
          <ac:spMkLst>
            <pc:docMk/>
            <pc:sldMk cId="2970629482" sldId="321"/>
            <ac:spMk id="29" creationId="{7108B188-BE1D-4E7E-C7B4-5C45F5300EB8}"/>
          </ac:spMkLst>
        </pc:spChg>
        <pc:picChg chg="mod">
          <ac:chgData name="Moritz Lind" userId="S::61230@novasbe.pt::3c46de29-e3d8-46a3-bade-23b6b6ccc123" providerId="AD" clId="Web-{2D125AB4-EA99-AAA6-D8C6-06307377EB3C}" dt="2024-05-16T16:31:56.526" v="95" actId="1076"/>
          <ac:picMkLst>
            <pc:docMk/>
            <pc:sldMk cId="2970629482" sldId="321"/>
            <ac:picMk id="9" creationId="{E9CEA238-B81E-319D-BC72-90DD66C77DCB}"/>
          </ac:picMkLst>
        </pc:picChg>
        <pc:picChg chg="mod">
          <ac:chgData name="Moritz Lind" userId="S::61230@novasbe.pt::3c46de29-e3d8-46a3-bade-23b6b6ccc123" providerId="AD" clId="Web-{2D125AB4-EA99-AAA6-D8C6-06307377EB3C}" dt="2024-05-16T16:31:56.526" v="96" actId="1076"/>
          <ac:picMkLst>
            <pc:docMk/>
            <pc:sldMk cId="2970629482" sldId="321"/>
            <ac:picMk id="11" creationId="{42D0B01B-93D5-BEF5-A503-5E287F176C1D}"/>
          </ac:picMkLst>
        </pc:picChg>
        <pc:cxnChg chg="mod">
          <ac:chgData name="Moritz Lind" userId="S::61230@novasbe.pt::3c46de29-e3d8-46a3-bade-23b6b6ccc123" providerId="AD" clId="Web-{2D125AB4-EA99-AAA6-D8C6-06307377EB3C}" dt="2024-05-16T16:31:56.401" v="89" actId="1076"/>
          <ac:cxnSpMkLst>
            <pc:docMk/>
            <pc:sldMk cId="2970629482" sldId="321"/>
            <ac:cxnSpMk id="13" creationId="{63E1673F-DCD7-D30F-D2E2-FC2E975019BB}"/>
          </ac:cxnSpMkLst>
        </pc:cxnChg>
      </pc:sldChg>
      <pc:sldChg chg="addSp delSp modSp del">
        <pc:chgData name="Moritz Lind" userId="S::61230@novasbe.pt::3c46de29-e3d8-46a3-bade-23b6b6ccc123" providerId="AD" clId="Web-{2D125AB4-EA99-AAA6-D8C6-06307377EB3C}" dt="2024-05-16T17:08:49.539" v="809"/>
        <pc:sldMkLst>
          <pc:docMk/>
          <pc:sldMk cId="453432096" sldId="324"/>
        </pc:sldMkLst>
        <pc:spChg chg="mod">
          <ac:chgData name="Moritz Lind" userId="S::61230@novasbe.pt::3c46de29-e3d8-46a3-bade-23b6b6ccc123" providerId="AD" clId="Web-{2D125AB4-EA99-AAA6-D8C6-06307377EB3C}" dt="2024-05-16T16:34:42.350" v="197" actId="20577"/>
          <ac:spMkLst>
            <pc:docMk/>
            <pc:sldMk cId="453432096" sldId="324"/>
            <ac:spMk id="3" creationId="{281105C5-44E1-6128-D52F-2586EB705ADC}"/>
          </ac:spMkLst>
        </pc:spChg>
        <pc:spChg chg="del">
          <ac:chgData name="Moritz Lind" userId="S::61230@novasbe.pt::3c46de29-e3d8-46a3-bade-23b6b6ccc123" providerId="AD" clId="Web-{2D125AB4-EA99-AAA6-D8C6-06307377EB3C}" dt="2024-05-16T16:28:55.700" v="2"/>
          <ac:spMkLst>
            <pc:docMk/>
            <pc:sldMk cId="453432096" sldId="324"/>
            <ac:spMk id="7" creationId="{2ACE1E85-54FD-8CCA-6274-8C77BB951A9E}"/>
          </ac:spMkLst>
        </pc:spChg>
        <pc:spChg chg="mod">
          <ac:chgData name="Moritz Lind" userId="S::61230@novasbe.pt::3c46de29-e3d8-46a3-bade-23b6b6ccc123" providerId="AD" clId="Web-{2D125AB4-EA99-AAA6-D8C6-06307377EB3C}" dt="2024-05-16T16:31:11.366" v="61" actId="1076"/>
          <ac:spMkLst>
            <pc:docMk/>
            <pc:sldMk cId="453432096" sldId="324"/>
            <ac:spMk id="25" creationId="{AF50A492-B016-E8BE-92C2-E5C7EC0C2F59}"/>
          </ac:spMkLst>
        </pc:spChg>
        <pc:spChg chg="mod">
          <ac:chgData name="Moritz Lind" userId="S::61230@novasbe.pt::3c46de29-e3d8-46a3-bade-23b6b6ccc123" providerId="AD" clId="Web-{2D125AB4-EA99-AAA6-D8C6-06307377EB3C}" dt="2024-05-16T16:31:11.398" v="62" actId="1076"/>
          <ac:spMkLst>
            <pc:docMk/>
            <pc:sldMk cId="453432096" sldId="324"/>
            <ac:spMk id="26" creationId="{CBA1AAD0-6D7B-083C-8A3C-4D9FC143648D}"/>
          </ac:spMkLst>
        </pc:spChg>
        <pc:spChg chg="mod">
          <ac:chgData name="Moritz Lind" userId="S::61230@novasbe.pt::3c46de29-e3d8-46a3-bade-23b6b6ccc123" providerId="AD" clId="Web-{2D125AB4-EA99-AAA6-D8C6-06307377EB3C}" dt="2024-05-16T16:31:11.429" v="63" actId="1076"/>
          <ac:spMkLst>
            <pc:docMk/>
            <pc:sldMk cId="453432096" sldId="324"/>
            <ac:spMk id="31" creationId="{BF36CCF0-CC6B-3BDE-F23D-A5979DDC9B79}"/>
          </ac:spMkLst>
        </pc:spChg>
        <pc:spChg chg="mod">
          <ac:chgData name="Moritz Lind" userId="S::61230@novasbe.pt::3c46de29-e3d8-46a3-bade-23b6b6ccc123" providerId="AD" clId="Web-{2D125AB4-EA99-AAA6-D8C6-06307377EB3C}" dt="2024-05-16T16:31:11.460" v="64" actId="1076"/>
          <ac:spMkLst>
            <pc:docMk/>
            <pc:sldMk cId="453432096" sldId="324"/>
            <ac:spMk id="33" creationId="{C62E3ECD-E56C-A9A6-BC63-BE44E5A3AFC9}"/>
          </ac:spMkLst>
        </pc:spChg>
        <pc:spChg chg="del">
          <ac:chgData name="Moritz Lind" userId="S::61230@novasbe.pt::3c46de29-e3d8-46a3-bade-23b6b6ccc123" providerId="AD" clId="Web-{2D125AB4-EA99-AAA6-D8C6-06307377EB3C}" dt="2024-05-16T16:28:34.699" v="0"/>
          <ac:spMkLst>
            <pc:docMk/>
            <pc:sldMk cId="453432096" sldId="324"/>
            <ac:spMk id="37" creationId="{87F43303-DDC9-2140-3280-0FE1D7F95275}"/>
          </ac:spMkLst>
        </pc:spChg>
        <pc:spChg chg="mod">
          <ac:chgData name="Moritz Lind" userId="S::61230@novasbe.pt::3c46de29-e3d8-46a3-bade-23b6b6ccc123" providerId="AD" clId="Web-{2D125AB4-EA99-AAA6-D8C6-06307377EB3C}" dt="2024-05-16T16:31:11.507" v="65" actId="1076"/>
          <ac:spMkLst>
            <pc:docMk/>
            <pc:sldMk cId="453432096" sldId="324"/>
            <ac:spMk id="45" creationId="{DED615AE-506A-D551-6E9C-3FE21CB2CD21}"/>
          </ac:spMkLst>
        </pc:spChg>
        <pc:spChg chg="mod">
          <ac:chgData name="Moritz Lind" userId="S::61230@novasbe.pt::3c46de29-e3d8-46a3-bade-23b6b6ccc123" providerId="AD" clId="Web-{2D125AB4-EA99-AAA6-D8C6-06307377EB3C}" dt="2024-05-16T16:31:11.538" v="66" actId="1076"/>
          <ac:spMkLst>
            <pc:docMk/>
            <pc:sldMk cId="453432096" sldId="324"/>
            <ac:spMk id="48" creationId="{555C60C6-3CDE-8906-2EF3-0CDB3CEC03E0}"/>
          </ac:spMkLst>
        </pc:spChg>
        <pc:spChg chg="del mod">
          <ac:chgData name="Moritz Lind" userId="S::61230@novasbe.pt::3c46de29-e3d8-46a3-bade-23b6b6ccc123" providerId="AD" clId="Web-{2D125AB4-EA99-AAA6-D8C6-06307377EB3C}" dt="2024-05-16T17:06:42.659" v="684"/>
          <ac:spMkLst>
            <pc:docMk/>
            <pc:sldMk cId="453432096" sldId="324"/>
            <ac:spMk id="57" creationId="{3B1EE8E7-5056-84C9-FC7C-38B1387FE546}"/>
          </ac:spMkLst>
        </pc:spChg>
        <pc:spChg chg="add del mod">
          <ac:chgData name="Moritz Lind" userId="S::61230@novasbe.pt::3c46de29-e3d8-46a3-bade-23b6b6ccc123" providerId="AD" clId="Web-{2D125AB4-EA99-AAA6-D8C6-06307377EB3C}" dt="2024-05-16T16:29:02.951" v="7"/>
          <ac:spMkLst>
            <pc:docMk/>
            <pc:sldMk cId="453432096" sldId="324"/>
            <ac:spMk id="58" creationId="{F43F509F-8E01-10CA-D0BB-80E2A97BADE3}"/>
          </ac:spMkLst>
        </pc:spChg>
        <pc:spChg chg="add del">
          <ac:chgData name="Moritz Lind" userId="S::61230@novasbe.pt::3c46de29-e3d8-46a3-bade-23b6b6ccc123" providerId="AD" clId="Web-{2D125AB4-EA99-AAA6-D8C6-06307377EB3C}" dt="2024-05-16T17:06:39.831" v="683"/>
          <ac:spMkLst>
            <pc:docMk/>
            <pc:sldMk cId="453432096" sldId="324"/>
            <ac:spMk id="64" creationId="{5F9B2384-C4E2-5B7A-9091-DEAD825ACCA7}"/>
          </ac:spMkLst>
        </pc:spChg>
        <pc:spChg chg="add">
          <ac:chgData name="Moritz Lind" userId="S::61230@novasbe.pt::3c46de29-e3d8-46a3-bade-23b6b6ccc123" providerId="AD" clId="Web-{2D125AB4-EA99-AAA6-D8C6-06307377EB3C}" dt="2024-05-16T17:06:43.315" v="685"/>
          <ac:spMkLst>
            <pc:docMk/>
            <pc:sldMk cId="453432096" sldId="324"/>
            <ac:spMk id="122" creationId="{F66A02B5-9353-9F65-9594-DBC9F8E32CA3}"/>
          </ac:spMkLst>
        </pc:spChg>
        <pc:grpChg chg="mod">
          <ac:chgData name="Moritz Lind" userId="S::61230@novasbe.pt::3c46de29-e3d8-46a3-bade-23b6b6ccc123" providerId="AD" clId="Web-{2D125AB4-EA99-AAA6-D8C6-06307377EB3C}" dt="2024-05-16T16:31:11.632" v="67" actId="1076"/>
          <ac:grpSpMkLst>
            <pc:docMk/>
            <pc:sldMk cId="453432096" sldId="324"/>
            <ac:grpSpMk id="30" creationId="{FD9F7FD3-7F1A-7964-62B6-B3A5AFA1CE4F}"/>
          </ac:grpSpMkLst>
        </pc:grpChg>
        <pc:grpChg chg="add mod">
          <ac:chgData name="Moritz Lind" userId="S::61230@novasbe.pt::3c46de29-e3d8-46a3-bade-23b6b6ccc123" providerId="AD" clId="Web-{2D125AB4-EA99-AAA6-D8C6-06307377EB3C}" dt="2024-05-16T16:31:11.710" v="68" actId="1076"/>
          <ac:grpSpMkLst>
            <pc:docMk/>
            <pc:sldMk cId="453432096" sldId="324"/>
            <ac:grpSpMk id="187" creationId="{7765D8F8-CA1A-26F4-1B68-365B11D85B3A}"/>
          </ac:grpSpMkLst>
        </pc:grpChg>
        <pc:graphicFrameChg chg="add mod">
          <ac:chgData name="Moritz Lind" userId="S::61230@novasbe.pt::3c46de29-e3d8-46a3-bade-23b6b6ccc123" providerId="AD" clId="Web-{2D125AB4-EA99-AAA6-D8C6-06307377EB3C}" dt="2024-05-16T16:31:11.773" v="69" actId="1076"/>
          <ac:graphicFrameMkLst>
            <pc:docMk/>
            <pc:sldMk cId="453432096" sldId="324"/>
            <ac:graphicFrameMk id="62" creationId="{C949489E-A3AC-18FE-5AEA-B3B090AFAE65}"/>
          </ac:graphicFrameMkLst>
        </pc:graphicFrameChg>
        <pc:cxnChg chg="mod">
          <ac:chgData name="Moritz Lind" userId="S::61230@novasbe.pt::3c46de29-e3d8-46a3-bade-23b6b6ccc123" providerId="AD" clId="Web-{2D125AB4-EA99-AAA6-D8C6-06307377EB3C}" dt="2024-05-16T16:31:11.335" v="60" actId="1076"/>
          <ac:cxnSpMkLst>
            <pc:docMk/>
            <pc:sldMk cId="453432096" sldId="324"/>
            <ac:cxnSpMk id="35" creationId="{EFCB2A8B-77BE-8B08-08BA-08A914A85658}"/>
          </ac:cxnSpMkLst>
        </pc:cxnChg>
      </pc:sldChg>
      <pc:sldChg chg="del">
        <pc:chgData name="Moritz Lind" userId="S::61230@novasbe.pt::3c46de29-e3d8-46a3-bade-23b6b6ccc123" providerId="AD" clId="Web-{2D125AB4-EA99-AAA6-D8C6-06307377EB3C}" dt="2024-05-16T16:30:52.974" v="41"/>
        <pc:sldMkLst>
          <pc:docMk/>
          <pc:sldMk cId="2008942278" sldId="325"/>
        </pc:sldMkLst>
      </pc:sldChg>
      <pc:sldChg chg="delSp modSp add del replId">
        <pc:chgData name="Moritz Lind" userId="S::61230@novasbe.pt::3c46de29-e3d8-46a3-bade-23b6b6ccc123" providerId="AD" clId="Web-{2D125AB4-EA99-AAA6-D8C6-06307377EB3C}" dt="2024-05-16T16:31:20.508" v="71"/>
        <pc:sldMkLst>
          <pc:docMk/>
          <pc:sldMk cId="2945348694" sldId="326"/>
        </pc:sldMkLst>
        <pc:spChg chg="mod">
          <ac:chgData name="Moritz Lind" userId="S::61230@novasbe.pt::3c46de29-e3d8-46a3-bade-23b6b6ccc123" providerId="AD" clId="Web-{2D125AB4-EA99-AAA6-D8C6-06307377EB3C}" dt="2024-05-16T16:30:39.895" v="35" actId="20577"/>
          <ac:spMkLst>
            <pc:docMk/>
            <pc:sldMk cId="2945348694" sldId="326"/>
            <ac:spMk id="2" creationId="{F7857DC1-B240-2014-FF35-005F90715DFD}"/>
          </ac:spMkLst>
        </pc:spChg>
        <pc:spChg chg="mod">
          <ac:chgData name="Moritz Lind" userId="S::61230@novasbe.pt::3c46de29-e3d8-46a3-bade-23b6b6ccc123" providerId="AD" clId="Web-{2D125AB4-EA99-AAA6-D8C6-06307377EB3C}" dt="2024-05-16T16:30:47.974" v="37" actId="20577"/>
          <ac:spMkLst>
            <pc:docMk/>
            <pc:sldMk cId="2945348694" sldId="326"/>
            <ac:spMk id="3" creationId="{281105C5-44E1-6128-D52F-2586EB705ADC}"/>
          </ac:spMkLst>
        </pc:spChg>
        <pc:grpChg chg="del">
          <ac:chgData name="Moritz Lind" userId="S::61230@novasbe.pt::3c46de29-e3d8-46a3-bade-23b6b6ccc123" providerId="AD" clId="Web-{2D125AB4-EA99-AAA6-D8C6-06307377EB3C}" dt="2024-05-16T16:30:50.209" v="40"/>
          <ac:grpSpMkLst>
            <pc:docMk/>
            <pc:sldMk cId="2945348694" sldId="326"/>
            <ac:grpSpMk id="30" creationId="{FD9F7FD3-7F1A-7964-62B6-B3A5AFA1CE4F}"/>
          </ac:grpSpMkLst>
        </pc:grpChg>
        <pc:grpChg chg="del">
          <ac:chgData name="Moritz Lind" userId="S::61230@novasbe.pt::3c46de29-e3d8-46a3-bade-23b6b6ccc123" providerId="AD" clId="Web-{2D125AB4-EA99-AAA6-D8C6-06307377EB3C}" dt="2024-05-16T16:30:50.209" v="39"/>
          <ac:grpSpMkLst>
            <pc:docMk/>
            <pc:sldMk cId="2945348694" sldId="326"/>
            <ac:grpSpMk id="187" creationId="{7765D8F8-CA1A-26F4-1B68-365B11D85B3A}"/>
          </ac:grpSpMkLst>
        </pc:grpChg>
        <pc:graphicFrameChg chg="del">
          <ac:chgData name="Moritz Lind" userId="S::61230@novasbe.pt::3c46de29-e3d8-46a3-bade-23b6b6ccc123" providerId="AD" clId="Web-{2D125AB4-EA99-AAA6-D8C6-06307377EB3C}" dt="2024-05-16T16:30:50.209" v="38"/>
          <ac:graphicFrameMkLst>
            <pc:docMk/>
            <pc:sldMk cId="2945348694" sldId="326"/>
            <ac:graphicFrameMk id="62" creationId="{C949489E-A3AC-18FE-5AEA-B3B090AFAE65}"/>
          </ac:graphicFrameMkLst>
        </pc:graphicFrameChg>
      </pc:sldChg>
      <pc:sldChg chg="del">
        <pc:chgData name="Moritz Lind" userId="S::61230@novasbe.pt::3c46de29-e3d8-46a3-bade-23b6b6ccc123" providerId="AD" clId="Web-{2D125AB4-EA99-AAA6-D8C6-06307377EB3C}" dt="2024-05-16T16:30:22.050" v="23"/>
        <pc:sldMkLst>
          <pc:docMk/>
          <pc:sldMk cId="3650984918" sldId="326"/>
        </pc:sldMkLst>
      </pc:sldChg>
      <pc:sldChg chg="addSp delSp modSp add replId">
        <pc:chgData name="Moritz Lind" userId="S::61230@novasbe.pt::3c46de29-e3d8-46a3-bade-23b6b6ccc123" providerId="AD" clId="Web-{2D125AB4-EA99-AAA6-D8C6-06307377EB3C}" dt="2024-05-16T17:09:24.149" v="834" actId="1076"/>
        <pc:sldMkLst>
          <pc:docMk/>
          <pc:sldMk cId="3277142740" sldId="327"/>
        </pc:sldMkLst>
        <pc:spChg chg="mod">
          <ac:chgData name="Moritz Lind" userId="S::61230@novasbe.pt::3c46de29-e3d8-46a3-bade-23b6b6ccc123" providerId="AD" clId="Web-{2D125AB4-EA99-AAA6-D8C6-06307377EB3C}" dt="2024-05-16T16:31:25.367" v="85" actId="20577"/>
          <ac:spMkLst>
            <pc:docMk/>
            <pc:sldMk cId="3277142740" sldId="327"/>
            <ac:spMk id="2" creationId="{F7857DC1-B240-2014-FF35-005F90715DFD}"/>
          </ac:spMkLst>
        </pc:spChg>
        <pc:spChg chg="mod">
          <ac:chgData name="Moritz Lind" userId="S::61230@novasbe.pt::3c46de29-e3d8-46a3-bade-23b6b6ccc123" providerId="AD" clId="Web-{2D125AB4-EA99-AAA6-D8C6-06307377EB3C}" dt="2024-05-16T16:35:04.852" v="212" actId="20577"/>
          <ac:spMkLst>
            <pc:docMk/>
            <pc:sldMk cId="3277142740" sldId="327"/>
            <ac:spMk id="3" creationId="{281105C5-44E1-6128-D52F-2586EB705ADC}"/>
          </ac:spMkLst>
        </pc:spChg>
        <pc:spChg chg="mod">
          <ac:chgData name="Moritz Lind" userId="S::61230@novasbe.pt::3c46de29-e3d8-46a3-bade-23b6b6ccc123" providerId="AD" clId="Web-{2D125AB4-EA99-AAA6-D8C6-06307377EB3C}" dt="2024-05-16T16:42:41.838" v="319" actId="1076"/>
          <ac:spMkLst>
            <pc:docMk/>
            <pc:sldMk cId="3277142740" sldId="327"/>
            <ac:spMk id="25" creationId="{AF50A492-B016-E8BE-92C2-E5C7EC0C2F59}"/>
          </ac:spMkLst>
        </pc:spChg>
        <pc:spChg chg="mod">
          <ac:chgData name="Moritz Lind" userId="S::61230@novasbe.pt::3c46de29-e3d8-46a3-bade-23b6b6ccc123" providerId="AD" clId="Web-{2D125AB4-EA99-AAA6-D8C6-06307377EB3C}" dt="2024-05-16T16:42:41.838" v="318" actId="1076"/>
          <ac:spMkLst>
            <pc:docMk/>
            <pc:sldMk cId="3277142740" sldId="327"/>
            <ac:spMk id="26" creationId="{CBA1AAD0-6D7B-083C-8A3C-4D9FC143648D}"/>
          </ac:spMkLst>
        </pc:spChg>
        <pc:spChg chg="add del mod">
          <ac:chgData name="Moritz Lind" userId="S::61230@novasbe.pt::3c46de29-e3d8-46a3-bade-23b6b6ccc123" providerId="AD" clId="Web-{2D125AB4-EA99-AAA6-D8C6-06307377EB3C}" dt="2024-05-16T16:38:31.804" v="217"/>
          <ac:spMkLst>
            <pc:docMk/>
            <pc:sldMk cId="3277142740" sldId="327"/>
            <ac:spMk id="64" creationId="{067DEE68-6FC7-8CB1-62EC-143B2E98B624}"/>
          </ac:spMkLst>
        </pc:spChg>
        <pc:spChg chg="del mod">
          <ac:chgData name="Moritz Lind" userId="S::61230@novasbe.pt::3c46de29-e3d8-46a3-bade-23b6b6ccc123" providerId="AD" clId="Web-{2D125AB4-EA99-AAA6-D8C6-06307377EB3C}" dt="2024-05-16T16:38:56.916" v="230"/>
          <ac:spMkLst>
            <pc:docMk/>
            <pc:sldMk cId="3277142740" sldId="327"/>
            <ac:spMk id="68" creationId="{FF27FD2F-618E-EB36-C7D4-CF6EBFD4CAE0}"/>
          </ac:spMkLst>
        </pc:spChg>
        <pc:spChg chg="del">
          <ac:chgData name="Moritz Lind" userId="S::61230@novasbe.pt::3c46de29-e3d8-46a3-bade-23b6b6ccc123" providerId="AD" clId="Web-{2D125AB4-EA99-AAA6-D8C6-06307377EB3C}" dt="2024-05-16T16:38:55.681" v="229"/>
          <ac:spMkLst>
            <pc:docMk/>
            <pc:sldMk cId="3277142740" sldId="327"/>
            <ac:spMk id="70" creationId="{1C5ED363-FF5C-ABE4-3AE1-F751D90F89BC}"/>
          </ac:spMkLst>
        </pc:spChg>
        <pc:spChg chg="del mod">
          <ac:chgData name="Moritz Lind" userId="S::61230@novasbe.pt::3c46de29-e3d8-46a3-bade-23b6b6ccc123" providerId="AD" clId="Web-{2D125AB4-EA99-AAA6-D8C6-06307377EB3C}" dt="2024-05-16T16:38:54.243" v="228"/>
          <ac:spMkLst>
            <pc:docMk/>
            <pc:sldMk cId="3277142740" sldId="327"/>
            <ac:spMk id="72" creationId="{63A9E1D7-B864-B37F-ECF7-698E78A14D43}"/>
          </ac:spMkLst>
        </pc:spChg>
        <pc:spChg chg="del">
          <ac:chgData name="Moritz Lind" userId="S::61230@novasbe.pt::3c46de29-e3d8-46a3-bade-23b6b6ccc123" providerId="AD" clId="Web-{2D125AB4-EA99-AAA6-D8C6-06307377EB3C}" dt="2024-05-16T16:38:58.572" v="231"/>
          <ac:spMkLst>
            <pc:docMk/>
            <pc:sldMk cId="3277142740" sldId="327"/>
            <ac:spMk id="74" creationId="{104362B4-C20C-868D-7847-9CB74FECA24E}"/>
          </ac:spMkLst>
        </pc:spChg>
        <pc:spChg chg="del">
          <ac:chgData name="Moritz Lind" userId="S::61230@novasbe.pt::3c46de29-e3d8-46a3-bade-23b6b6ccc123" providerId="AD" clId="Web-{2D125AB4-EA99-AAA6-D8C6-06307377EB3C}" dt="2024-05-16T16:38:52.462" v="227"/>
          <ac:spMkLst>
            <pc:docMk/>
            <pc:sldMk cId="3277142740" sldId="327"/>
            <ac:spMk id="76" creationId="{10FB7A2B-21DB-1CD7-2E80-25B006B7B7EA}"/>
          </ac:spMkLst>
        </pc:spChg>
        <pc:spChg chg="add del">
          <ac:chgData name="Moritz Lind" userId="S::61230@novasbe.pt::3c46de29-e3d8-46a3-bade-23b6b6ccc123" providerId="AD" clId="Web-{2D125AB4-EA99-AAA6-D8C6-06307377EB3C}" dt="2024-05-16T16:39:06.838" v="234"/>
          <ac:spMkLst>
            <pc:docMk/>
            <pc:sldMk cId="3277142740" sldId="327"/>
            <ac:spMk id="78" creationId="{594143EB-0EB7-E087-5832-4572FF73927D}"/>
          </ac:spMkLst>
        </pc:spChg>
        <pc:spChg chg="mod">
          <ac:chgData name="Moritz Lind" userId="S::61230@novasbe.pt::3c46de29-e3d8-46a3-bade-23b6b6ccc123" providerId="AD" clId="Web-{2D125AB4-EA99-AAA6-D8C6-06307377EB3C}" dt="2024-05-16T16:40:49.064" v="309"/>
          <ac:spMkLst>
            <pc:docMk/>
            <pc:sldMk cId="3277142740" sldId="327"/>
            <ac:spMk id="80" creationId="{9FB6CC80-4017-DD42-DC4B-E1DEE97D4812}"/>
          </ac:spMkLst>
        </pc:spChg>
        <pc:spChg chg="add mod">
          <ac:chgData name="Moritz Lind" userId="S::61230@novasbe.pt::3c46de29-e3d8-46a3-bade-23b6b6ccc123" providerId="AD" clId="Web-{2D125AB4-EA99-AAA6-D8C6-06307377EB3C}" dt="2024-05-16T17:09:24.149" v="834" actId="1076"/>
          <ac:spMkLst>
            <pc:docMk/>
            <pc:sldMk cId="3277142740" sldId="327"/>
            <ac:spMk id="81" creationId="{3AFD914F-D34B-7613-8543-4943CABBB3EE}"/>
          </ac:spMkLst>
        </pc:spChg>
        <pc:spChg chg="add del">
          <ac:chgData name="Moritz Lind" userId="S::61230@novasbe.pt::3c46de29-e3d8-46a3-bade-23b6b6ccc123" providerId="AD" clId="Web-{2D125AB4-EA99-AAA6-D8C6-06307377EB3C}" dt="2024-05-16T17:09:14.430" v="825"/>
          <ac:spMkLst>
            <pc:docMk/>
            <pc:sldMk cId="3277142740" sldId="327"/>
            <ac:spMk id="82" creationId="{2C0A87A2-A51D-6B40-0D2D-277E2570F4BA}"/>
          </ac:spMkLst>
        </pc:spChg>
        <pc:spChg chg="del">
          <ac:chgData name="Moritz Lind" userId="S::61230@novasbe.pt::3c46de29-e3d8-46a3-bade-23b6b6ccc123" providerId="AD" clId="Web-{2D125AB4-EA99-AAA6-D8C6-06307377EB3C}" dt="2024-05-16T16:39:08.338" v="235"/>
          <ac:spMkLst>
            <pc:docMk/>
            <pc:sldMk cId="3277142740" sldId="327"/>
            <ac:spMk id="82" creationId="{426C2581-A946-02EF-4FBC-820470969D75}"/>
          </ac:spMkLst>
        </pc:spChg>
        <pc:spChg chg="mod">
          <ac:chgData name="Moritz Lind" userId="S::61230@novasbe.pt::3c46de29-e3d8-46a3-bade-23b6b6ccc123" providerId="AD" clId="Web-{2D125AB4-EA99-AAA6-D8C6-06307377EB3C}" dt="2024-05-16T16:40:49.064" v="310"/>
          <ac:spMkLst>
            <pc:docMk/>
            <pc:sldMk cId="3277142740" sldId="327"/>
            <ac:spMk id="83" creationId="{5E1258DF-E2E8-5D3F-9E82-9E221EE2A4F7}"/>
          </ac:spMkLst>
        </pc:spChg>
        <pc:spChg chg="mod">
          <ac:chgData name="Moritz Lind" userId="S::61230@novasbe.pt::3c46de29-e3d8-46a3-bade-23b6b6ccc123" providerId="AD" clId="Web-{2D125AB4-EA99-AAA6-D8C6-06307377EB3C}" dt="2024-05-16T16:40:49.080" v="311"/>
          <ac:spMkLst>
            <pc:docMk/>
            <pc:sldMk cId="3277142740" sldId="327"/>
            <ac:spMk id="84" creationId="{93E5E6EE-7AB2-98BF-52D7-F23189B67AFC}"/>
          </ac:spMkLst>
        </pc:spChg>
        <pc:spChg chg="del">
          <ac:chgData name="Moritz Lind" userId="S::61230@novasbe.pt::3c46de29-e3d8-46a3-bade-23b6b6ccc123" providerId="AD" clId="Web-{2D125AB4-EA99-AAA6-D8C6-06307377EB3C}" dt="2024-05-16T16:38:34.476" v="219"/>
          <ac:spMkLst>
            <pc:docMk/>
            <pc:sldMk cId="3277142740" sldId="327"/>
            <ac:spMk id="85" creationId="{3AD68F07-20FE-11CA-6748-03C2C6F18CC7}"/>
          </ac:spMkLst>
        </pc:spChg>
        <pc:spChg chg="add del">
          <ac:chgData name="Moritz Lind" userId="S::61230@novasbe.pt::3c46de29-e3d8-46a3-bade-23b6b6ccc123" providerId="AD" clId="Web-{2D125AB4-EA99-AAA6-D8C6-06307377EB3C}" dt="2024-05-16T17:09:13.524" v="824"/>
          <ac:spMkLst>
            <pc:docMk/>
            <pc:sldMk cId="3277142740" sldId="327"/>
            <ac:spMk id="85" creationId="{A037F32B-5962-309A-637B-EB43225BEC5F}"/>
          </ac:spMkLst>
        </pc:spChg>
        <pc:spChg chg="del">
          <ac:chgData name="Moritz Lind" userId="S::61230@novasbe.pt::3c46de29-e3d8-46a3-bade-23b6b6ccc123" providerId="AD" clId="Web-{2D125AB4-EA99-AAA6-D8C6-06307377EB3C}" dt="2024-05-16T16:38:40.914" v="223"/>
          <ac:spMkLst>
            <pc:docMk/>
            <pc:sldMk cId="3277142740" sldId="327"/>
            <ac:spMk id="86" creationId="{553734CE-EF48-0EB7-8583-B4AB88687DA9}"/>
          </ac:spMkLst>
        </pc:spChg>
        <pc:spChg chg="mod topLvl">
          <ac:chgData name="Moritz Lind" userId="S::61230@novasbe.pt::3c46de29-e3d8-46a3-bade-23b6b6ccc123" providerId="AD" clId="Web-{2D125AB4-EA99-AAA6-D8C6-06307377EB3C}" dt="2024-05-16T17:06:26.174" v="681"/>
          <ac:spMkLst>
            <pc:docMk/>
            <pc:sldMk cId="3277142740" sldId="327"/>
            <ac:spMk id="90" creationId="{1394C2F8-B009-AF24-F428-4E4518A2D4D1}"/>
          </ac:spMkLst>
        </pc:spChg>
        <pc:spChg chg="del">
          <ac:chgData name="Moritz Lind" userId="S::61230@novasbe.pt::3c46de29-e3d8-46a3-bade-23b6b6ccc123" providerId="AD" clId="Web-{2D125AB4-EA99-AAA6-D8C6-06307377EB3C}" dt="2024-05-16T16:48:59.365" v="615"/>
          <ac:spMkLst>
            <pc:docMk/>
            <pc:sldMk cId="3277142740" sldId="327"/>
            <ac:spMk id="91" creationId="{D834F9D0-442F-5C1A-3FDD-B8C5935FCAEA}"/>
          </ac:spMkLst>
        </pc:spChg>
        <pc:spChg chg="add del mod">
          <ac:chgData name="Moritz Lind" userId="S::61230@novasbe.pt::3c46de29-e3d8-46a3-bade-23b6b6ccc123" providerId="AD" clId="Web-{2D125AB4-EA99-AAA6-D8C6-06307377EB3C}" dt="2024-05-16T16:48:41.739" v="604"/>
          <ac:spMkLst>
            <pc:docMk/>
            <pc:sldMk cId="3277142740" sldId="327"/>
            <ac:spMk id="92" creationId="{5AA692BC-6356-255B-C02E-19B5623BEF32}"/>
          </ac:spMkLst>
        </pc:spChg>
        <pc:spChg chg="del mod">
          <ac:chgData name="Moritz Lind" userId="S::61230@novasbe.pt::3c46de29-e3d8-46a3-bade-23b6b6ccc123" providerId="AD" clId="Web-{2D125AB4-EA99-AAA6-D8C6-06307377EB3C}" dt="2024-05-16T16:48:45.020" v="606"/>
          <ac:spMkLst>
            <pc:docMk/>
            <pc:sldMk cId="3277142740" sldId="327"/>
            <ac:spMk id="93" creationId="{6BE05C32-52AC-DC56-B2E7-FD18CD90CAF5}"/>
          </ac:spMkLst>
        </pc:spChg>
        <pc:spChg chg="del mod">
          <ac:chgData name="Moritz Lind" userId="S::61230@novasbe.pt::3c46de29-e3d8-46a3-bade-23b6b6ccc123" providerId="AD" clId="Web-{2D125AB4-EA99-AAA6-D8C6-06307377EB3C}" dt="2024-05-16T16:48:57.193" v="614"/>
          <ac:spMkLst>
            <pc:docMk/>
            <pc:sldMk cId="3277142740" sldId="327"/>
            <ac:spMk id="94" creationId="{DE54946B-CCC6-DC64-262B-725B26C3262A}"/>
          </ac:spMkLst>
        </pc:spChg>
        <pc:spChg chg="del mod">
          <ac:chgData name="Moritz Lind" userId="S::61230@novasbe.pt::3c46de29-e3d8-46a3-bade-23b6b6ccc123" providerId="AD" clId="Web-{2D125AB4-EA99-AAA6-D8C6-06307377EB3C}" dt="2024-05-16T16:48:54.240" v="612"/>
          <ac:spMkLst>
            <pc:docMk/>
            <pc:sldMk cId="3277142740" sldId="327"/>
            <ac:spMk id="95" creationId="{0D6D78BA-48C8-A381-50E6-0E71E9B4B895}"/>
          </ac:spMkLst>
        </pc:spChg>
        <pc:spChg chg="add del mod">
          <ac:chgData name="Moritz Lind" userId="S::61230@novasbe.pt::3c46de29-e3d8-46a3-bade-23b6b6ccc123" providerId="AD" clId="Web-{2D125AB4-EA99-AAA6-D8C6-06307377EB3C}" dt="2024-05-16T16:48:43.505" v="605"/>
          <ac:spMkLst>
            <pc:docMk/>
            <pc:sldMk cId="3277142740" sldId="327"/>
            <ac:spMk id="96" creationId="{E7934FA6-D0AB-1EF1-6535-B86E8E422CF8}"/>
          </ac:spMkLst>
        </pc:spChg>
        <pc:spChg chg="del mod">
          <ac:chgData name="Moritz Lind" userId="S::61230@novasbe.pt::3c46de29-e3d8-46a3-bade-23b6b6ccc123" providerId="AD" clId="Web-{2D125AB4-EA99-AAA6-D8C6-06307377EB3C}" dt="2024-05-16T16:48:47.036" v="607"/>
          <ac:spMkLst>
            <pc:docMk/>
            <pc:sldMk cId="3277142740" sldId="327"/>
            <ac:spMk id="97" creationId="{ED0E2F20-8B56-75F5-245D-1938CB2235D2}"/>
          </ac:spMkLst>
        </pc:spChg>
        <pc:spChg chg="add del mod">
          <ac:chgData name="Moritz Lind" userId="S::61230@novasbe.pt::3c46de29-e3d8-46a3-bade-23b6b6ccc123" providerId="AD" clId="Web-{2D125AB4-EA99-AAA6-D8C6-06307377EB3C}" dt="2024-05-16T16:48:32.035" v="602"/>
          <ac:spMkLst>
            <pc:docMk/>
            <pc:sldMk cId="3277142740" sldId="327"/>
            <ac:spMk id="2549" creationId="{3A29C03E-6BEB-FEAC-68D5-561ACC1F2E11}"/>
          </ac:spMkLst>
        </pc:spChg>
        <pc:grpChg chg="del">
          <ac:chgData name="Moritz Lind" userId="S::61230@novasbe.pt::3c46de29-e3d8-46a3-bade-23b6b6ccc123" providerId="AD" clId="Web-{2D125AB4-EA99-AAA6-D8C6-06307377EB3C}" dt="2024-05-16T16:31:28.368" v="88"/>
          <ac:grpSpMkLst>
            <pc:docMk/>
            <pc:sldMk cId="3277142740" sldId="327"/>
            <ac:grpSpMk id="30" creationId="{FD9F7FD3-7F1A-7964-62B6-B3A5AFA1CE4F}"/>
          </ac:grpSpMkLst>
        </pc:grpChg>
        <pc:grpChg chg="add del mod">
          <ac:chgData name="Moritz Lind" userId="S::61230@novasbe.pt::3c46de29-e3d8-46a3-bade-23b6b6ccc123" providerId="AD" clId="Web-{2D125AB4-EA99-AAA6-D8C6-06307377EB3C}" dt="2024-05-16T16:42:41.838" v="317" actId="1076"/>
          <ac:grpSpMkLst>
            <pc:docMk/>
            <pc:sldMk cId="3277142740" sldId="327"/>
            <ac:grpSpMk id="87" creationId="{AEB9E155-99AB-3906-CFA3-9678631BBDEA}"/>
          </ac:grpSpMkLst>
        </pc:grpChg>
        <pc:grpChg chg="add del">
          <ac:chgData name="Moritz Lind" userId="S::61230@novasbe.pt::3c46de29-e3d8-46a3-bade-23b6b6ccc123" providerId="AD" clId="Web-{2D125AB4-EA99-AAA6-D8C6-06307377EB3C}" dt="2024-05-16T17:06:26.174" v="681"/>
          <ac:grpSpMkLst>
            <pc:docMk/>
            <pc:sldMk cId="3277142740" sldId="327"/>
            <ac:grpSpMk id="103" creationId="{2FA939C8-0614-61FB-9076-D4913C6A662B}"/>
          </ac:grpSpMkLst>
        </pc:grpChg>
        <pc:grpChg chg="del">
          <ac:chgData name="Moritz Lind" userId="S::61230@novasbe.pt::3c46de29-e3d8-46a3-bade-23b6b6ccc123" providerId="AD" clId="Web-{2D125AB4-EA99-AAA6-D8C6-06307377EB3C}" dt="2024-05-16T16:31:28.368" v="87"/>
          <ac:grpSpMkLst>
            <pc:docMk/>
            <pc:sldMk cId="3277142740" sldId="327"/>
            <ac:grpSpMk id="187" creationId="{7765D8F8-CA1A-26F4-1B68-365B11D85B3A}"/>
          </ac:grpSpMkLst>
        </pc:grpChg>
        <pc:graphicFrameChg chg="del">
          <ac:chgData name="Moritz Lind" userId="S::61230@novasbe.pt::3c46de29-e3d8-46a3-bade-23b6b6ccc123" providerId="AD" clId="Web-{2D125AB4-EA99-AAA6-D8C6-06307377EB3C}" dt="2024-05-16T16:31:28.368" v="86"/>
          <ac:graphicFrameMkLst>
            <pc:docMk/>
            <pc:sldMk cId="3277142740" sldId="327"/>
            <ac:graphicFrameMk id="62" creationId="{C949489E-A3AC-18FE-5AEA-B3B090AFAE65}"/>
          </ac:graphicFrameMkLst>
        </pc:graphicFrameChg>
        <pc:graphicFrameChg chg="add mod">
          <ac:chgData name="Moritz Lind" userId="S::61230@novasbe.pt::3c46de29-e3d8-46a3-bade-23b6b6ccc123" providerId="AD" clId="Web-{2D125AB4-EA99-AAA6-D8C6-06307377EB3C}" dt="2024-05-16T17:05:00.530" v="659" actId="1076"/>
          <ac:graphicFrameMkLst>
            <pc:docMk/>
            <pc:sldMk cId="3277142740" sldId="327"/>
            <ac:graphicFrameMk id="63" creationId="{04A377E1-D6C2-07BA-5F68-8B24A6D764B8}"/>
          </ac:graphicFrameMkLst>
        </pc:graphicFrameChg>
        <pc:graphicFrameChg chg="topLvl modGraphic">
          <ac:chgData name="Moritz Lind" userId="S::61230@novasbe.pt::3c46de29-e3d8-46a3-bade-23b6b6ccc123" providerId="AD" clId="Web-{2D125AB4-EA99-AAA6-D8C6-06307377EB3C}" dt="2024-05-16T17:06:26.174" v="681"/>
          <ac:graphicFrameMkLst>
            <pc:docMk/>
            <pc:sldMk cId="3277142740" sldId="327"/>
            <ac:graphicFrameMk id="89" creationId="{FE46E295-2118-0634-ED94-F5FADBA861C1}"/>
          </ac:graphicFrameMkLst>
        </pc:graphicFrameChg>
        <pc:graphicFrameChg chg="add">
          <ac:chgData name="Moritz Lind" userId="S::61230@novasbe.pt::3c46de29-e3d8-46a3-bade-23b6b6ccc123" providerId="AD" clId="Web-{2D125AB4-EA99-AAA6-D8C6-06307377EB3C}" dt="2024-05-16T16:41:51.725" v="313"/>
          <ac:graphicFrameMkLst>
            <pc:docMk/>
            <pc:sldMk cId="3277142740" sldId="327"/>
            <ac:graphicFrameMk id="119" creationId="{AF6D116A-C3BF-3C34-A8FF-44B7218F4F2B}"/>
          </ac:graphicFrameMkLst>
        </pc:graphicFrameChg>
        <pc:graphicFrameChg chg="add del mod modGraphic">
          <ac:chgData name="Moritz Lind" userId="S::61230@novasbe.pt::3c46de29-e3d8-46a3-bade-23b6b6ccc123" providerId="AD" clId="Web-{2D125AB4-EA99-AAA6-D8C6-06307377EB3C}" dt="2024-05-16T17:04:45.936" v="656"/>
          <ac:graphicFrameMkLst>
            <pc:docMk/>
            <pc:sldMk cId="3277142740" sldId="327"/>
            <ac:graphicFrameMk id="2652" creationId="{C597C966-FAD4-F8F0-09BB-F4D22AB492E3}"/>
          </ac:graphicFrameMkLst>
        </pc:graphicFrameChg>
        <pc:picChg chg="add del mod">
          <ac:chgData name="Moritz Lind" userId="S::61230@novasbe.pt::3c46de29-e3d8-46a3-bade-23b6b6ccc123" providerId="AD" clId="Web-{2D125AB4-EA99-AAA6-D8C6-06307377EB3C}" dt="2024-05-16T16:50:01.370" v="650"/>
          <ac:picMkLst>
            <pc:docMk/>
            <pc:sldMk cId="3277142740" sldId="327"/>
            <ac:picMk id="172" creationId="{5B390B89-771D-8A6A-5BDB-97E905CAE691}"/>
          </ac:picMkLst>
        </pc:picChg>
        <pc:cxnChg chg="del">
          <ac:chgData name="Moritz Lind" userId="S::61230@novasbe.pt::3c46de29-e3d8-46a3-bade-23b6b6ccc123" providerId="AD" clId="Web-{2D125AB4-EA99-AAA6-D8C6-06307377EB3C}" dt="2024-05-16T16:48:51.458" v="610"/>
          <ac:cxnSpMkLst>
            <pc:docMk/>
            <pc:sldMk cId="3277142740" sldId="327"/>
            <ac:cxnSpMk id="98" creationId="{70661291-2AC6-5BCE-7F2E-BB94A12E8CCB}"/>
          </ac:cxnSpMkLst>
        </pc:cxnChg>
        <pc:cxnChg chg="del">
          <ac:chgData name="Moritz Lind" userId="S::61230@novasbe.pt::3c46de29-e3d8-46a3-bade-23b6b6ccc123" providerId="AD" clId="Web-{2D125AB4-EA99-AAA6-D8C6-06307377EB3C}" dt="2024-05-16T16:48:49.818" v="609"/>
          <ac:cxnSpMkLst>
            <pc:docMk/>
            <pc:sldMk cId="3277142740" sldId="327"/>
            <ac:cxnSpMk id="99" creationId="{4C9D4905-57A0-E2E3-ECCA-0FFDA376B318}"/>
          </ac:cxnSpMkLst>
        </pc:cxnChg>
        <pc:cxnChg chg="del">
          <ac:chgData name="Moritz Lind" userId="S::61230@novasbe.pt::3c46de29-e3d8-46a3-bade-23b6b6ccc123" providerId="AD" clId="Web-{2D125AB4-EA99-AAA6-D8C6-06307377EB3C}" dt="2024-05-16T16:48:48.599" v="608"/>
          <ac:cxnSpMkLst>
            <pc:docMk/>
            <pc:sldMk cId="3277142740" sldId="327"/>
            <ac:cxnSpMk id="100" creationId="{90511BEC-6998-9850-5EAD-2901A448F33D}"/>
          </ac:cxnSpMkLst>
        </pc:cxnChg>
        <pc:cxnChg chg="del">
          <ac:chgData name="Moritz Lind" userId="S::61230@novasbe.pt::3c46de29-e3d8-46a3-bade-23b6b6ccc123" providerId="AD" clId="Web-{2D125AB4-EA99-AAA6-D8C6-06307377EB3C}" dt="2024-05-16T16:48:53.037" v="611"/>
          <ac:cxnSpMkLst>
            <pc:docMk/>
            <pc:sldMk cId="3277142740" sldId="327"/>
            <ac:cxnSpMk id="101" creationId="{658131CE-7617-D58B-89D0-DC341E9A7658}"/>
          </ac:cxnSpMkLst>
        </pc:cxnChg>
        <pc:cxnChg chg="del">
          <ac:chgData name="Moritz Lind" userId="S::61230@novasbe.pt::3c46de29-e3d8-46a3-bade-23b6b6ccc123" providerId="AD" clId="Web-{2D125AB4-EA99-AAA6-D8C6-06307377EB3C}" dt="2024-05-16T16:48:55.740" v="613"/>
          <ac:cxnSpMkLst>
            <pc:docMk/>
            <pc:sldMk cId="3277142740" sldId="327"/>
            <ac:cxnSpMk id="102" creationId="{439A62D4-24D2-BA11-E0E7-B49F0E9A1FC5}"/>
          </ac:cxnSpMkLst>
        </pc:cxnChg>
      </pc:sldChg>
      <pc:sldChg chg="addSp delSp modSp add replId">
        <pc:chgData name="Moritz Lind" userId="S::61230@novasbe.pt::3c46de29-e3d8-46a3-bade-23b6b6ccc123" providerId="AD" clId="Web-{2D125AB4-EA99-AAA6-D8C6-06307377EB3C}" dt="2024-05-16T17:08:55.133" v="820"/>
        <pc:sldMkLst>
          <pc:docMk/>
          <pc:sldMk cId="636850645" sldId="330"/>
        </pc:sldMkLst>
        <pc:spChg chg="del mod topLvl">
          <ac:chgData name="Moritz Lind" userId="S::61230@novasbe.pt::3c46de29-e3d8-46a3-bade-23b6b6ccc123" providerId="AD" clId="Web-{2D125AB4-EA99-AAA6-D8C6-06307377EB3C}" dt="2024-05-16T17:07:15.942" v="686"/>
          <ac:spMkLst>
            <pc:docMk/>
            <pc:sldMk cId="636850645" sldId="330"/>
            <ac:spMk id="57" creationId="{3B1EE8E7-5056-84C9-FC7C-38B1387FE546}"/>
          </ac:spMkLst>
        </pc:spChg>
        <pc:spChg chg="del mod topLvl">
          <ac:chgData name="Moritz Lind" userId="S::61230@novasbe.pt::3c46de29-e3d8-46a3-bade-23b6b6ccc123" providerId="AD" clId="Web-{2D125AB4-EA99-AAA6-D8C6-06307377EB3C}" dt="2024-05-16T17:08:55.133" v="820"/>
          <ac:spMkLst>
            <pc:docMk/>
            <pc:sldMk cId="636850645" sldId="330"/>
            <ac:spMk id="59" creationId="{5F9F8BF8-BC2C-401F-D832-A9444245356F}"/>
          </ac:spMkLst>
        </pc:spChg>
        <pc:spChg chg="del mod topLvl">
          <ac:chgData name="Moritz Lind" userId="S::61230@novasbe.pt::3c46de29-e3d8-46a3-bade-23b6b6ccc123" providerId="AD" clId="Web-{2D125AB4-EA99-AAA6-D8C6-06307377EB3C}" dt="2024-05-16T17:08:55.133" v="819"/>
          <ac:spMkLst>
            <pc:docMk/>
            <pc:sldMk cId="636850645" sldId="330"/>
            <ac:spMk id="61" creationId="{E3A1E8EA-B64E-178E-B887-4368B1A2D688}"/>
          </ac:spMkLst>
        </pc:spChg>
        <pc:spChg chg="del mod topLvl">
          <ac:chgData name="Moritz Lind" userId="S::61230@novasbe.pt::3c46de29-e3d8-46a3-bade-23b6b6ccc123" providerId="AD" clId="Web-{2D125AB4-EA99-AAA6-D8C6-06307377EB3C}" dt="2024-05-16T17:08:55.133" v="818"/>
          <ac:spMkLst>
            <pc:docMk/>
            <pc:sldMk cId="636850645" sldId="330"/>
            <ac:spMk id="63" creationId="{C3848D0E-CC29-DCE0-0B79-4954110ECD1F}"/>
          </ac:spMkLst>
        </pc:spChg>
        <pc:spChg chg="del mod topLvl">
          <ac:chgData name="Moritz Lind" userId="S::61230@novasbe.pt::3c46de29-e3d8-46a3-bade-23b6b6ccc123" providerId="AD" clId="Web-{2D125AB4-EA99-AAA6-D8C6-06307377EB3C}" dt="2024-05-16T17:08:55.133" v="817"/>
          <ac:spMkLst>
            <pc:docMk/>
            <pc:sldMk cId="636850645" sldId="330"/>
            <ac:spMk id="65" creationId="{7D0709AA-78AB-1D90-22B7-6AE59D331E00}"/>
          </ac:spMkLst>
        </pc:spChg>
        <pc:spChg chg="del mod topLvl">
          <ac:chgData name="Moritz Lind" userId="S::61230@novasbe.pt::3c46de29-e3d8-46a3-bade-23b6b6ccc123" providerId="AD" clId="Web-{2D125AB4-EA99-AAA6-D8C6-06307377EB3C}" dt="2024-05-16T17:08:55.133" v="816"/>
          <ac:spMkLst>
            <pc:docMk/>
            <pc:sldMk cId="636850645" sldId="330"/>
            <ac:spMk id="67" creationId="{7AC4B8ED-2866-8BE3-8C27-88F6D0010429}"/>
          </ac:spMkLst>
        </pc:spChg>
        <pc:spChg chg="del mod topLvl">
          <ac:chgData name="Moritz Lind" userId="S::61230@novasbe.pt::3c46de29-e3d8-46a3-bade-23b6b6ccc123" providerId="AD" clId="Web-{2D125AB4-EA99-AAA6-D8C6-06307377EB3C}" dt="2024-05-16T17:08:55.133" v="815"/>
          <ac:spMkLst>
            <pc:docMk/>
            <pc:sldMk cId="636850645" sldId="330"/>
            <ac:spMk id="69" creationId="{9379BF3E-0AD6-503C-1BAF-D8F098420D7A}"/>
          </ac:spMkLst>
        </pc:spChg>
        <pc:spChg chg="del mod topLvl">
          <ac:chgData name="Moritz Lind" userId="S::61230@novasbe.pt::3c46de29-e3d8-46a3-bade-23b6b6ccc123" providerId="AD" clId="Web-{2D125AB4-EA99-AAA6-D8C6-06307377EB3C}" dt="2024-05-16T17:08:55.133" v="814"/>
          <ac:spMkLst>
            <pc:docMk/>
            <pc:sldMk cId="636850645" sldId="330"/>
            <ac:spMk id="71" creationId="{085CD5EF-93C5-55B6-20DB-4028697BDA6D}"/>
          </ac:spMkLst>
        </pc:spChg>
        <pc:spChg chg="add">
          <ac:chgData name="Moritz Lind" userId="S::61230@novasbe.pt::3c46de29-e3d8-46a3-bade-23b6b6ccc123" providerId="AD" clId="Web-{2D125AB4-EA99-AAA6-D8C6-06307377EB3C}" dt="2024-05-16T17:07:16.363" v="687"/>
          <ac:spMkLst>
            <pc:docMk/>
            <pc:sldMk cId="636850645" sldId="330"/>
            <ac:spMk id="319" creationId="{95D89A19-4998-19C9-FE10-FB6A57BE639B}"/>
          </ac:spMkLst>
        </pc:spChg>
        <pc:grpChg chg="add del">
          <ac:chgData name="Moritz Lind" userId="S::61230@novasbe.pt::3c46de29-e3d8-46a3-bade-23b6b6ccc123" providerId="AD" clId="Web-{2D125AB4-EA99-AAA6-D8C6-06307377EB3C}" dt="2024-05-16T17:05:32.219" v="664"/>
          <ac:grpSpMkLst>
            <pc:docMk/>
            <pc:sldMk cId="636850645" sldId="330"/>
            <ac:grpSpMk id="187" creationId="{7765D8F8-CA1A-26F4-1B68-365B11D85B3A}"/>
          </ac:grpSpMkLst>
        </pc:grpChg>
        <pc:graphicFrameChg chg="topLvl">
          <ac:chgData name="Moritz Lind" userId="S::61230@novasbe.pt::3c46de29-e3d8-46a3-bade-23b6b6ccc123" providerId="AD" clId="Web-{2D125AB4-EA99-AAA6-D8C6-06307377EB3C}" dt="2024-05-16T17:05:32.219" v="664"/>
          <ac:graphicFrameMkLst>
            <pc:docMk/>
            <pc:sldMk cId="636850645" sldId="330"/>
            <ac:graphicFrameMk id="39" creationId="{DA0A86B0-0CE2-40A9-A1B7-234403706DDF}"/>
          </ac:graphicFrameMkLst>
        </pc:graphicFrameChg>
        <pc:graphicFrameChg chg="add del mod modGraphic">
          <ac:chgData name="Moritz Lind" userId="S::61230@novasbe.pt::3c46de29-e3d8-46a3-bade-23b6b6ccc123" providerId="AD" clId="Web-{2D125AB4-EA99-AAA6-D8C6-06307377EB3C}" dt="2024-05-16T17:07:24.786" v="688"/>
          <ac:graphicFrameMkLst>
            <pc:docMk/>
            <pc:sldMk cId="636850645" sldId="330"/>
            <ac:graphicFrameMk id="317" creationId="{88AF3117-0051-65AD-E40C-45611CA791AA}"/>
          </ac:graphicFrameMkLst>
        </pc:graphicFrameChg>
        <pc:graphicFrameChg chg="add mod modGraphic">
          <ac:chgData name="Moritz Lind" userId="S::61230@novasbe.pt::3c46de29-e3d8-46a3-bade-23b6b6ccc123" providerId="AD" clId="Web-{2D125AB4-EA99-AAA6-D8C6-06307377EB3C}" dt="2024-05-16T17:08:36.991" v="808"/>
          <ac:graphicFrameMkLst>
            <pc:docMk/>
            <pc:sldMk cId="636850645" sldId="330"/>
            <ac:graphicFrameMk id="321" creationId="{4EC4A380-33EE-E608-DFC4-151D4DE1672A}"/>
          </ac:graphicFrameMkLst>
        </pc:graphicFrameChg>
        <pc:cxnChg chg="del mod topLvl">
          <ac:chgData name="Moritz Lind" userId="S::61230@novasbe.pt::3c46de29-e3d8-46a3-bade-23b6b6ccc123" providerId="AD" clId="Web-{2D125AB4-EA99-AAA6-D8C6-06307377EB3C}" dt="2024-05-16T17:08:55.133" v="813"/>
          <ac:cxnSpMkLst>
            <pc:docMk/>
            <pc:sldMk cId="636850645" sldId="330"/>
            <ac:cxnSpMk id="73" creationId="{7A0CA9BF-F296-854B-1258-0C39207E6E9C}"/>
          </ac:cxnSpMkLst>
        </pc:cxnChg>
        <pc:cxnChg chg="del">
          <ac:chgData name="Moritz Lind" userId="S::61230@novasbe.pt::3c46de29-e3d8-46a3-bade-23b6b6ccc123" providerId="AD" clId="Web-{2D125AB4-EA99-AAA6-D8C6-06307377EB3C}" dt="2024-05-16T17:05:16.734" v="661"/>
          <ac:cxnSpMkLst>
            <pc:docMk/>
            <pc:sldMk cId="636850645" sldId="330"/>
            <ac:cxnSpMk id="75" creationId="{4FE8BD12-16C1-5BBC-D611-9637664BEDC4}"/>
          </ac:cxnSpMkLst>
        </pc:cxnChg>
        <pc:cxnChg chg="del mod topLvl">
          <ac:chgData name="Moritz Lind" userId="S::61230@novasbe.pt::3c46de29-e3d8-46a3-bade-23b6b6ccc123" providerId="AD" clId="Web-{2D125AB4-EA99-AAA6-D8C6-06307377EB3C}" dt="2024-05-16T17:08:55.133" v="812"/>
          <ac:cxnSpMkLst>
            <pc:docMk/>
            <pc:sldMk cId="636850645" sldId="330"/>
            <ac:cxnSpMk id="77" creationId="{D7DF2DF9-23EF-8670-FA36-26B5CBBE9874}"/>
          </ac:cxnSpMkLst>
        </pc:cxnChg>
        <pc:cxnChg chg="del mod topLvl">
          <ac:chgData name="Moritz Lind" userId="S::61230@novasbe.pt::3c46de29-e3d8-46a3-bade-23b6b6ccc123" providerId="AD" clId="Web-{2D125AB4-EA99-AAA6-D8C6-06307377EB3C}" dt="2024-05-16T17:08:55.117" v="811"/>
          <ac:cxnSpMkLst>
            <pc:docMk/>
            <pc:sldMk cId="636850645" sldId="330"/>
            <ac:cxnSpMk id="79" creationId="{F5D4E096-CBCC-6438-705B-7C6E0EC1529C}"/>
          </ac:cxnSpMkLst>
        </pc:cxnChg>
        <pc:cxnChg chg="del mod topLvl">
          <ac:chgData name="Moritz Lind" userId="S::61230@novasbe.pt::3c46de29-e3d8-46a3-bade-23b6b6ccc123" providerId="AD" clId="Web-{2D125AB4-EA99-AAA6-D8C6-06307377EB3C}" dt="2024-05-16T17:08:55.117" v="810"/>
          <ac:cxnSpMkLst>
            <pc:docMk/>
            <pc:sldMk cId="636850645" sldId="330"/>
            <ac:cxnSpMk id="81" creationId="{43E6A06B-E937-B847-A4EF-1C6B9F4505A0}"/>
          </ac:cxnSpMkLst>
        </pc:cxn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7AD75F-D03D-804A-9EB4-8D0E82D14E9E}" type="doc">
      <dgm:prSet loTypeId="urn:microsoft.com/office/officeart/2008/layout/VerticalCurvedList" loCatId="" qsTypeId="urn:microsoft.com/office/officeart/2005/8/quickstyle/simple1" qsCatId="simple" csTypeId="urn:microsoft.com/office/officeart/2005/8/colors/accent0_2" csCatId="mainScheme" phldr="1"/>
      <dgm:spPr/>
      <dgm:t>
        <a:bodyPr/>
        <a:lstStyle/>
        <a:p>
          <a:endParaRPr lang="en-US"/>
        </a:p>
      </dgm:t>
    </dgm:pt>
    <dgm:pt modelId="{6BA161FB-2C22-D642-9538-3579189E3839}">
      <dgm:prSet phldrT="[Text]" custT="1"/>
      <dgm:spPr>
        <a:noFill/>
        <a:ln w="12700">
          <a:solidFill>
            <a:schemeClr val="tx1"/>
          </a:solidFill>
          <a:prstDash val="sysDash"/>
        </a:ln>
      </dgm:spPr>
      <dgm:t>
        <a:bodyPr/>
        <a:lstStyle/>
        <a:p>
          <a:r>
            <a:rPr lang="en-US" sz="1000">
              <a:solidFill>
                <a:schemeClr val="tx1"/>
              </a:solidFill>
            </a:rPr>
            <a:t>Dropout rate</a:t>
          </a:r>
        </a:p>
      </dgm:t>
    </dgm:pt>
    <dgm:pt modelId="{995CCAFE-4EBF-C54F-ABCC-AD0BBA8A472F}" type="parTrans" cxnId="{F3B3EC10-A824-B745-8F19-1BA4CDF5AA88}">
      <dgm:prSet/>
      <dgm:spPr/>
      <dgm:t>
        <a:bodyPr/>
        <a:lstStyle/>
        <a:p>
          <a:endParaRPr lang="en-US"/>
        </a:p>
      </dgm:t>
    </dgm:pt>
    <dgm:pt modelId="{BD840C4A-0ACA-7E41-9168-24DC7E8769EC}" type="sibTrans" cxnId="{F3B3EC10-A824-B745-8F19-1BA4CDF5AA88}">
      <dgm:prSet/>
      <dgm:spPr/>
      <dgm:t>
        <a:bodyPr/>
        <a:lstStyle/>
        <a:p>
          <a:endParaRPr lang="en-US"/>
        </a:p>
      </dgm:t>
    </dgm:pt>
    <dgm:pt modelId="{F678A8AF-AE73-554E-A46A-D77F990BEE9F}">
      <dgm:prSet phldrT="[Text]" custT="1"/>
      <dgm:spPr>
        <a:noFill/>
        <a:ln w="12700">
          <a:solidFill>
            <a:schemeClr val="tx1"/>
          </a:solidFill>
          <a:prstDash val="sysDash"/>
        </a:ln>
      </dgm:spPr>
      <dgm:t>
        <a:bodyPr/>
        <a:lstStyle/>
        <a:p>
          <a:r>
            <a:rPr lang="en-US" sz="1000">
              <a:solidFill>
                <a:schemeClr val="tx1"/>
              </a:solidFill>
            </a:rPr>
            <a:t>Batch normalization</a:t>
          </a:r>
        </a:p>
      </dgm:t>
    </dgm:pt>
    <dgm:pt modelId="{79706ACF-C3BF-BD48-B4D0-5A689FCA0F19}" type="parTrans" cxnId="{5E626DCE-E646-6A46-94AE-89760EF934FB}">
      <dgm:prSet/>
      <dgm:spPr/>
      <dgm:t>
        <a:bodyPr/>
        <a:lstStyle/>
        <a:p>
          <a:endParaRPr lang="en-US"/>
        </a:p>
      </dgm:t>
    </dgm:pt>
    <dgm:pt modelId="{6289BD91-69C2-FA4F-94FF-D558F00D9E24}" type="sibTrans" cxnId="{5E626DCE-E646-6A46-94AE-89760EF934FB}">
      <dgm:prSet/>
      <dgm:spPr/>
      <dgm:t>
        <a:bodyPr/>
        <a:lstStyle/>
        <a:p>
          <a:endParaRPr lang="en-US"/>
        </a:p>
      </dgm:t>
    </dgm:pt>
    <dgm:pt modelId="{3AE82B97-7DEB-3749-AE39-792E049971C3}">
      <dgm:prSet phldrT="[Text]" custT="1"/>
      <dgm:spPr>
        <a:noFill/>
        <a:ln w="12700">
          <a:solidFill>
            <a:schemeClr val="tx1"/>
          </a:solidFill>
          <a:prstDash val="sysDash"/>
        </a:ln>
      </dgm:spPr>
      <dgm:t>
        <a:bodyPr/>
        <a:lstStyle/>
        <a:p>
          <a:r>
            <a:rPr lang="en-US" sz="1000">
              <a:solidFill>
                <a:schemeClr val="tx1"/>
              </a:solidFill>
            </a:rPr>
            <a:t>L2 regularization</a:t>
          </a:r>
        </a:p>
      </dgm:t>
    </dgm:pt>
    <dgm:pt modelId="{66773CF1-0B93-C642-BF9B-4F8421D15E51}" type="parTrans" cxnId="{4E467C34-2171-1847-81EA-387C003194EC}">
      <dgm:prSet/>
      <dgm:spPr/>
      <dgm:t>
        <a:bodyPr/>
        <a:lstStyle/>
        <a:p>
          <a:endParaRPr lang="en-US"/>
        </a:p>
      </dgm:t>
    </dgm:pt>
    <dgm:pt modelId="{FBEE7910-29D2-B54A-B088-6046B3C46113}" type="sibTrans" cxnId="{4E467C34-2171-1847-81EA-387C003194EC}">
      <dgm:prSet/>
      <dgm:spPr/>
      <dgm:t>
        <a:bodyPr/>
        <a:lstStyle/>
        <a:p>
          <a:endParaRPr lang="en-US"/>
        </a:p>
      </dgm:t>
    </dgm:pt>
    <dgm:pt modelId="{16F302C7-7A15-F349-A202-283B47A4307E}" type="pres">
      <dgm:prSet presAssocID="{A87AD75F-D03D-804A-9EB4-8D0E82D14E9E}" presName="Name0" presStyleCnt="0">
        <dgm:presLayoutVars>
          <dgm:chMax val="7"/>
          <dgm:chPref val="7"/>
          <dgm:dir/>
        </dgm:presLayoutVars>
      </dgm:prSet>
      <dgm:spPr/>
    </dgm:pt>
    <dgm:pt modelId="{BF12137C-14A3-2E46-A784-9AFCAB828D6C}" type="pres">
      <dgm:prSet presAssocID="{A87AD75F-D03D-804A-9EB4-8D0E82D14E9E}" presName="Name1" presStyleCnt="0"/>
      <dgm:spPr/>
    </dgm:pt>
    <dgm:pt modelId="{AC6C78AA-D9A3-FA46-9CC5-9F563142BB1B}" type="pres">
      <dgm:prSet presAssocID="{A87AD75F-D03D-804A-9EB4-8D0E82D14E9E}" presName="cycle" presStyleCnt="0"/>
      <dgm:spPr/>
    </dgm:pt>
    <dgm:pt modelId="{094F7818-8388-AA46-985D-A42C003AE0DB}" type="pres">
      <dgm:prSet presAssocID="{A87AD75F-D03D-804A-9EB4-8D0E82D14E9E}" presName="srcNode" presStyleLbl="node1" presStyleIdx="0" presStyleCnt="3"/>
      <dgm:spPr/>
    </dgm:pt>
    <dgm:pt modelId="{3C05F29F-D528-194F-A6B5-AAA05D8DA922}" type="pres">
      <dgm:prSet presAssocID="{A87AD75F-D03D-804A-9EB4-8D0E82D14E9E}" presName="conn" presStyleLbl="parChTrans1D2" presStyleIdx="0" presStyleCnt="1"/>
      <dgm:spPr/>
    </dgm:pt>
    <dgm:pt modelId="{74CC8FB1-1B8D-BF4A-A4D9-69D713F9D3D8}" type="pres">
      <dgm:prSet presAssocID="{A87AD75F-D03D-804A-9EB4-8D0E82D14E9E}" presName="extraNode" presStyleLbl="node1" presStyleIdx="0" presStyleCnt="3"/>
      <dgm:spPr/>
    </dgm:pt>
    <dgm:pt modelId="{8738038E-661A-BB4A-A29D-CF1A8F21CE29}" type="pres">
      <dgm:prSet presAssocID="{A87AD75F-D03D-804A-9EB4-8D0E82D14E9E}" presName="dstNode" presStyleLbl="node1" presStyleIdx="0" presStyleCnt="3"/>
      <dgm:spPr/>
    </dgm:pt>
    <dgm:pt modelId="{6AD4E480-940E-C646-80AD-0BF24970BF61}" type="pres">
      <dgm:prSet presAssocID="{6BA161FB-2C22-D642-9538-3579189E3839}" presName="text_1" presStyleLbl="node1" presStyleIdx="0" presStyleCnt="3">
        <dgm:presLayoutVars>
          <dgm:bulletEnabled val="1"/>
        </dgm:presLayoutVars>
      </dgm:prSet>
      <dgm:spPr/>
    </dgm:pt>
    <dgm:pt modelId="{7EBF82A9-D619-934A-AB3A-FD71A198E474}" type="pres">
      <dgm:prSet presAssocID="{6BA161FB-2C22-D642-9538-3579189E3839}" presName="accent_1" presStyleCnt="0"/>
      <dgm:spPr/>
    </dgm:pt>
    <dgm:pt modelId="{45467174-D124-8848-9733-B54F52B065A1}" type="pres">
      <dgm:prSet presAssocID="{6BA161FB-2C22-D642-9538-3579189E3839}" presName="accentRepeatNode" presStyleLbl="solidFgAcc1" presStyleIdx="0" presStyleCnt="3"/>
      <dgm:spPr>
        <a:solidFill>
          <a:srgbClr val="D5D5D5"/>
        </a:solidFill>
        <a:ln w="12700">
          <a:solidFill>
            <a:schemeClr val="tx1"/>
          </a:solidFill>
        </a:ln>
      </dgm:spPr>
    </dgm:pt>
    <dgm:pt modelId="{1B9D48A0-4F43-5141-B1FD-ABAD1F337A43}" type="pres">
      <dgm:prSet presAssocID="{F678A8AF-AE73-554E-A46A-D77F990BEE9F}" presName="text_2" presStyleLbl="node1" presStyleIdx="1" presStyleCnt="3">
        <dgm:presLayoutVars>
          <dgm:bulletEnabled val="1"/>
        </dgm:presLayoutVars>
      </dgm:prSet>
      <dgm:spPr/>
    </dgm:pt>
    <dgm:pt modelId="{8A439440-5940-1841-BE33-6495776AB642}" type="pres">
      <dgm:prSet presAssocID="{F678A8AF-AE73-554E-A46A-D77F990BEE9F}" presName="accent_2" presStyleCnt="0"/>
      <dgm:spPr/>
    </dgm:pt>
    <dgm:pt modelId="{53E84DE1-3358-9147-B947-1BB2B3A74D13}" type="pres">
      <dgm:prSet presAssocID="{F678A8AF-AE73-554E-A46A-D77F990BEE9F}" presName="accentRepeatNode" presStyleLbl="solidFgAcc1" presStyleIdx="1" presStyleCnt="3"/>
      <dgm:spPr>
        <a:solidFill>
          <a:srgbClr val="D5D5D5"/>
        </a:solidFill>
        <a:ln w="12700">
          <a:solidFill>
            <a:schemeClr val="tx1"/>
          </a:solidFill>
        </a:ln>
      </dgm:spPr>
    </dgm:pt>
    <dgm:pt modelId="{FC4399B8-EBFA-6347-B076-013DE2500064}" type="pres">
      <dgm:prSet presAssocID="{3AE82B97-7DEB-3749-AE39-792E049971C3}" presName="text_3" presStyleLbl="node1" presStyleIdx="2" presStyleCnt="3">
        <dgm:presLayoutVars>
          <dgm:bulletEnabled val="1"/>
        </dgm:presLayoutVars>
      </dgm:prSet>
      <dgm:spPr/>
    </dgm:pt>
    <dgm:pt modelId="{296E0CCC-2455-9B40-9C38-1F5CE790FB7A}" type="pres">
      <dgm:prSet presAssocID="{3AE82B97-7DEB-3749-AE39-792E049971C3}" presName="accent_3" presStyleCnt="0"/>
      <dgm:spPr/>
    </dgm:pt>
    <dgm:pt modelId="{042AA417-94A3-1D42-82E1-9BDDBFE67E38}" type="pres">
      <dgm:prSet presAssocID="{3AE82B97-7DEB-3749-AE39-792E049971C3}" presName="accentRepeatNode" presStyleLbl="solidFgAcc1" presStyleIdx="2" presStyleCnt="3"/>
      <dgm:spPr>
        <a:solidFill>
          <a:srgbClr val="D5D5D5"/>
        </a:solidFill>
        <a:ln w="12700">
          <a:solidFill>
            <a:schemeClr val="tx1"/>
          </a:solidFill>
        </a:ln>
      </dgm:spPr>
    </dgm:pt>
  </dgm:ptLst>
  <dgm:cxnLst>
    <dgm:cxn modelId="{F3B3EC10-A824-B745-8F19-1BA4CDF5AA88}" srcId="{A87AD75F-D03D-804A-9EB4-8D0E82D14E9E}" destId="{6BA161FB-2C22-D642-9538-3579189E3839}" srcOrd="0" destOrd="0" parTransId="{995CCAFE-4EBF-C54F-ABCC-AD0BBA8A472F}" sibTransId="{BD840C4A-0ACA-7E41-9168-24DC7E8769EC}"/>
    <dgm:cxn modelId="{4E467C34-2171-1847-81EA-387C003194EC}" srcId="{A87AD75F-D03D-804A-9EB4-8D0E82D14E9E}" destId="{3AE82B97-7DEB-3749-AE39-792E049971C3}" srcOrd="2" destOrd="0" parTransId="{66773CF1-0B93-C642-BF9B-4F8421D15E51}" sibTransId="{FBEE7910-29D2-B54A-B088-6046B3C46113}"/>
    <dgm:cxn modelId="{A7ECEB69-F48E-6E45-927B-04124936A1C6}" type="presOf" srcId="{6BA161FB-2C22-D642-9538-3579189E3839}" destId="{6AD4E480-940E-C646-80AD-0BF24970BF61}" srcOrd="0" destOrd="0" presId="urn:microsoft.com/office/officeart/2008/layout/VerticalCurvedList"/>
    <dgm:cxn modelId="{E7C6A14A-0ACD-BC4F-B0A0-CDEE1B45C2DA}" type="presOf" srcId="{F678A8AF-AE73-554E-A46A-D77F990BEE9F}" destId="{1B9D48A0-4F43-5141-B1FD-ABAD1F337A43}" srcOrd="0" destOrd="0" presId="urn:microsoft.com/office/officeart/2008/layout/VerticalCurvedList"/>
    <dgm:cxn modelId="{88745E8D-7D70-6747-9B5E-1F05F0B2F9F4}" type="presOf" srcId="{A87AD75F-D03D-804A-9EB4-8D0E82D14E9E}" destId="{16F302C7-7A15-F349-A202-283B47A4307E}" srcOrd="0" destOrd="0" presId="urn:microsoft.com/office/officeart/2008/layout/VerticalCurvedList"/>
    <dgm:cxn modelId="{C78BA6C4-21BA-9B47-B1D0-532379626CD2}" type="presOf" srcId="{3AE82B97-7DEB-3749-AE39-792E049971C3}" destId="{FC4399B8-EBFA-6347-B076-013DE2500064}" srcOrd="0" destOrd="0" presId="urn:microsoft.com/office/officeart/2008/layout/VerticalCurvedList"/>
    <dgm:cxn modelId="{5E626DCE-E646-6A46-94AE-89760EF934FB}" srcId="{A87AD75F-D03D-804A-9EB4-8D0E82D14E9E}" destId="{F678A8AF-AE73-554E-A46A-D77F990BEE9F}" srcOrd="1" destOrd="0" parTransId="{79706ACF-C3BF-BD48-B4D0-5A689FCA0F19}" sibTransId="{6289BD91-69C2-FA4F-94FF-D558F00D9E24}"/>
    <dgm:cxn modelId="{8B3AD6ED-F1E3-4044-B22F-BEC2E1CB5976}" type="presOf" srcId="{BD840C4A-0ACA-7E41-9168-24DC7E8769EC}" destId="{3C05F29F-D528-194F-A6B5-AAA05D8DA922}" srcOrd="0" destOrd="0" presId="urn:microsoft.com/office/officeart/2008/layout/VerticalCurvedList"/>
    <dgm:cxn modelId="{2459B773-6236-3442-9285-DFEAF43AA3B1}" type="presParOf" srcId="{16F302C7-7A15-F349-A202-283B47A4307E}" destId="{BF12137C-14A3-2E46-A784-9AFCAB828D6C}" srcOrd="0" destOrd="0" presId="urn:microsoft.com/office/officeart/2008/layout/VerticalCurvedList"/>
    <dgm:cxn modelId="{EFBC02CB-7076-A94F-BBBF-E60447703B5E}" type="presParOf" srcId="{BF12137C-14A3-2E46-A784-9AFCAB828D6C}" destId="{AC6C78AA-D9A3-FA46-9CC5-9F563142BB1B}" srcOrd="0" destOrd="0" presId="urn:microsoft.com/office/officeart/2008/layout/VerticalCurvedList"/>
    <dgm:cxn modelId="{601E030B-CCF1-2247-A63E-C0E4B76D8C4A}" type="presParOf" srcId="{AC6C78AA-D9A3-FA46-9CC5-9F563142BB1B}" destId="{094F7818-8388-AA46-985D-A42C003AE0DB}" srcOrd="0" destOrd="0" presId="urn:microsoft.com/office/officeart/2008/layout/VerticalCurvedList"/>
    <dgm:cxn modelId="{F51D5CAA-BCB4-5640-BF5E-7C20D85F7E72}" type="presParOf" srcId="{AC6C78AA-D9A3-FA46-9CC5-9F563142BB1B}" destId="{3C05F29F-D528-194F-A6B5-AAA05D8DA922}" srcOrd="1" destOrd="0" presId="urn:microsoft.com/office/officeart/2008/layout/VerticalCurvedList"/>
    <dgm:cxn modelId="{9DE8809A-1A25-CE4E-B63C-4762398A2AA5}" type="presParOf" srcId="{AC6C78AA-D9A3-FA46-9CC5-9F563142BB1B}" destId="{74CC8FB1-1B8D-BF4A-A4D9-69D713F9D3D8}" srcOrd="2" destOrd="0" presId="urn:microsoft.com/office/officeart/2008/layout/VerticalCurvedList"/>
    <dgm:cxn modelId="{A499EA57-5C4E-5142-9F95-C55D63A9DE70}" type="presParOf" srcId="{AC6C78AA-D9A3-FA46-9CC5-9F563142BB1B}" destId="{8738038E-661A-BB4A-A29D-CF1A8F21CE29}" srcOrd="3" destOrd="0" presId="urn:microsoft.com/office/officeart/2008/layout/VerticalCurvedList"/>
    <dgm:cxn modelId="{CC96353A-17E0-F34C-A746-BAE920FECACF}" type="presParOf" srcId="{BF12137C-14A3-2E46-A784-9AFCAB828D6C}" destId="{6AD4E480-940E-C646-80AD-0BF24970BF61}" srcOrd="1" destOrd="0" presId="urn:microsoft.com/office/officeart/2008/layout/VerticalCurvedList"/>
    <dgm:cxn modelId="{4E302071-1A2A-2C4E-B8ED-3DFA5AA33297}" type="presParOf" srcId="{BF12137C-14A3-2E46-A784-9AFCAB828D6C}" destId="{7EBF82A9-D619-934A-AB3A-FD71A198E474}" srcOrd="2" destOrd="0" presId="urn:microsoft.com/office/officeart/2008/layout/VerticalCurvedList"/>
    <dgm:cxn modelId="{6D1957C1-FC32-C647-83D4-CACF8E424952}" type="presParOf" srcId="{7EBF82A9-D619-934A-AB3A-FD71A198E474}" destId="{45467174-D124-8848-9733-B54F52B065A1}" srcOrd="0" destOrd="0" presId="urn:microsoft.com/office/officeart/2008/layout/VerticalCurvedList"/>
    <dgm:cxn modelId="{2AF65690-0C95-364D-B6A0-6457EDCF717E}" type="presParOf" srcId="{BF12137C-14A3-2E46-A784-9AFCAB828D6C}" destId="{1B9D48A0-4F43-5141-B1FD-ABAD1F337A43}" srcOrd="3" destOrd="0" presId="urn:microsoft.com/office/officeart/2008/layout/VerticalCurvedList"/>
    <dgm:cxn modelId="{D90CE250-ACC1-1044-B186-3C2A5BB24A59}" type="presParOf" srcId="{BF12137C-14A3-2E46-A784-9AFCAB828D6C}" destId="{8A439440-5940-1841-BE33-6495776AB642}" srcOrd="4" destOrd="0" presId="urn:microsoft.com/office/officeart/2008/layout/VerticalCurvedList"/>
    <dgm:cxn modelId="{6679C8AC-D965-044F-9851-F40B89ED90E9}" type="presParOf" srcId="{8A439440-5940-1841-BE33-6495776AB642}" destId="{53E84DE1-3358-9147-B947-1BB2B3A74D13}" srcOrd="0" destOrd="0" presId="urn:microsoft.com/office/officeart/2008/layout/VerticalCurvedList"/>
    <dgm:cxn modelId="{81FB50DB-E149-494A-8E96-120F48702299}" type="presParOf" srcId="{BF12137C-14A3-2E46-A784-9AFCAB828D6C}" destId="{FC4399B8-EBFA-6347-B076-013DE2500064}" srcOrd="5" destOrd="0" presId="urn:microsoft.com/office/officeart/2008/layout/VerticalCurvedList"/>
    <dgm:cxn modelId="{4AB762AD-FAEC-A04C-9395-3AFB038727F6}" type="presParOf" srcId="{BF12137C-14A3-2E46-A784-9AFCAB828D6C}" destId="{296E0CCC-2455-9B40-9C38-1F5CE790FB7A}" srcOrd="6" destOrd="0" presId="urn:microsoft.com/office/officeart/2008/layout/VerticalCurvedList"/>
    <dgm:cxn modelId="{99E368A4-27AA-B54F-9E4D-0757B6889CED}" type="presParOf" srcId="{296E0CCC-2455-9B40-9C38-1F5CE790FB7A}" destId="{042AA417-94A3-1D42-82E1-9BDDBFE67E38}"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2DAF4BBD-EFB7-9A48-8299-7DF046A95DAE}" type="doc">
      <dgm:prSet loTypeId="urn:microsoft.com/office/officeart/2005/8/layout/hierarchy2" loCatId="" qsTypeId="urn:microsoft.com/office/officeart/2005/8/quickstyle/simple1" qsCatId="simple" csTypeId="urn:microsoft.com/office/officeart/2005/8/colors/accent0_1" csCatId="mainScheme" phldr="1"/>
      <dgm:spPr/>
      <dgm:t>
        <a:bodyPr/>
        <a:lstStyle/>
        <a:p>
          <a:endParaRPr lang="en-US"/>
        </a:p>
      </dgm:t>
    </dgm:pt>
    <dgm:pt modelId="{AE6D0EC3-E7A6-D045-8AB3-B0296302B3C8}">
      <dgm:prSet phldrT="[Text]"/>
      <dgm:spPr>
        <a:solidFill>
          <a:srgbClr val="D5D5D5"/>
        </a:solidFill>
        <a:ln w="12700"/>
      </dgm:spPr>
      <dgm:t>
        <a:bodyPr/>
        <a:lstStyle/>
        <a:p>
          <a:r>
            <a:rPr lang="en-US"/>
            <a:t>More Epochs</a:t>
          </a:r>
        </a:p>
      </dgm:t>
    </dgm:pt>
    <dgm:pt modelId="{5AE40FCC-7755-E043-9AA7-75A897154F29}" type="parTrans" cxnId="{8802497C-9BB2-9B4D-95FA-75518E50D8B3}">
      <dgm:prSet/>
      <dgm:spPr/>
      <dgm:t>
        <a:bodyPr/>
        <a:lstStyle/>
        <a:p>
          <a:endParaRPr lang="en-US"/>
        </a:p>
      </dgm:t>
    </dgm:pt>
    <dgm:pt modelId="{25A90E26-FCCF-174A-9162-E3270CA9F41C}" type="sibTrans" cxnId="{8802497C-9BB2-9B4D-95FA-75518E50D8B3}">
      <dgm:prSet/>
      <dgm:spPr/>
      <dgm:t>
        <a:bodyPr/>
        <a:lstStyle/>
        <a:p>
          <a:endParaRPr lang="en-US"/>
        </a:p>
      </dgm:t>
    </dgm:pt>
    <dgm:pt modelId="{8E33786C-5288-844C-9E85-9F1174597C6C}">
      <dgm:prSet phldrT="[Text]"/>
      <dgm:spPr>
        <a:solidFill>
          <a:srgbClr val="D5D5D5"/>
        </a:solidFill>
        <a:ln w="12700"/>
      </dgm:spPr>
      <dgm:t>
        <a:bodyPr/>
        <a:lstStyle/>
        <a:p>
          <a:r>
            <a:rPr lang="en-US"/>
            <a:t>Early Stopping</a:t>
          </a:r>
        </a:p>
      </dgm:t>
    </dgm:pt>
    <dgm:pt modelId="{2208AA59-BB78-D143-9507-48EBC648E503}" type="parTrans" cxnId="{F3899365-8A7A-6F4F-B8B4-2F39B6FD8EE9}">
      <dgm:prSet/>
      <dgm:spPr/>
      <dgm:t>
        <a:bodyPr/>
        <a:lstStyle/>
        <a:p>
          <a:endParaRPr lang="en-US"/>
        </a:p>
      </dgm:t>
    </dgm:pt>
    <dgm:pt modelId="{BC82E9BE-759C-2A43-A566-B1EA37C80065}" type="sibTrans" cxnId="{F3899365-8A7A-6F4F-B8B4-2F39B6FD8EE9}">
      <dgm:prSet/>
      <dgm:spPr/>
      <dgm:t>
        <a:bodyPr/>
        <a:lstStyle/>
        <a:p>
          <a:endParaRPr lang="en-US"/>
        </a:p>
      </dgm:t>
    </dgm:pt>
    <dgm:pt modelId="{22E819D1-6F5E-E442-B1D0-0CA8184253F7}">
      <dgm:prSet phldrT="[Text]"/>
      <dgm:spPr>
        <a:solidFill>
          <a:srgbClr val="D5D5D5"/>
        </a:solidFill>
        <a:ln w="12700"/>
      </dgm:spPr>
      <dgm:t>
        <a:bodyPr/>
        <a:lstStyle/>
        <a:p>
          <a:r>
            <a:rPr lang="en-US"/>
            <a:t>Data Augmentation</a:t>
          </a:r>
        </a:p>
      </dgm:t>
    </dgm:pt>
    <dgm:pt modelId="{97383EDB-4208-914D-B6AC-4B64C57ADCFF}" type="parTrans" cxnId="{AA24C1DC-51A9-2044-9FC3-2372C6889113}">
      <dgm:prSet/>
      <dgm:spPr/>
      <dgm:t>
        <a:bodyPr/>
        <a:lstStyle/>
        <a:p>
          <a:endParaRPr lang="en-US"/>
        </a:p>
      </dgm:t>
    </dgm:pt>
    <dgm:pt modelId="{26FAE4BB-4862-BB41-928B-A1CF0A3C93D5}" type="sibTrans" cxnId="{AA24C1DC-51A9-2044-9FC3-2372C6889113}">
      <dgm:prSet/>
      <dgm:spPr/>
      <dgm:t>
        <a:bodyPr/>
        <a:lstStyle/>
        <a:p>
          <a:endParaRPr lang="en-US"/>
        </a:p>
      </dgm:t>
    </dgm:pt>
    <dgm:pt modelId="{5041762C-0FAA-5045-8BEB-CBE937486934}">
      <dgm:prSet phldrT="[Text]"/>
      <dgm:spPr>
        <a:ln w="12700">
          <a:prstDash val="sysDot"/>
        </a:ln>
      </dgm:spPr>
      <dgm:t>
        <a:bodyPr/>
        <a:lstStyle/>
        <a:p>
          <a:pPr algn="ctr"/>
          <a:r>
            <a:rPr lang="en-US"/>
            <a:t>Random Horizontal Flipping</a:t>
          </a:r>
        </a:p>
      </dgm:t>
    </dgm:pt>
    <dgm:pt modelId="{1F332150-248E-154B-B081-906899427A6E}" type="parTrans" cxnId="{A17A7555-AAEA-D64F-A690-EFBF2E8EA5BD}">
      <dgm:prSet/>
      <dgm:spPr>
        <a:ln w="12700"/>
      </dgm:spPr>
      <dgm:t>
        <a:bodyPr/>
        <a:lstStyle/>
        <a:p>
          <a:endParaRPr lang="en-US"/>
        </a:p>
      </dgm:t>
    </dgm:pt>
    <dgm:pt modelId="{ED18179C-0F31-F648-9730-A68C6A2E7E55}" type="sibTrans" cxnId="{A17A7555-AAEA-D64F-A690-EFBF2E8EA5BD}">
      <dgm:prSet/>
      <dgm:spPr/>
      <dgm:t>
        <a:bodyPr/>
        <a:lstStyle/>
        <a:p>
          <a:endParaRPr lang="en-US"/>
        </a:p>
      </dgm:t>
    </dgm:pt>
    <dgm:pt modelId="{AC8E7823-8A7E-2240-BBB7-84C766BDEB91}">
      <dgm:prSet phldrT="[Text]"/>
      <dgm:spPr>
        <a:ln w="12700">
          <a:prstDash val="sysDot"/>
        </a:ln>
      </dgm:spPr>
      <dgm:t>
        <a:bodyPr/>
        <a:lstStyle/>
        <a:p>
          <a:pPr algn="ctr"/>
          <a:r>
            <a:rPr lang="en-US"/>
            <a:t>Random Rotation</a:t>
          </a:r>
        </a:p>
      </dgm:t>
    </dgm:pt>
    <dgm:pt modelId="{74CFF98C-94BB-8641-9022-7E22E08D2469}" type="parTrans" cxnId="{3E4A5429-8BCA-944D-AB8D-720FA5999758}">
      <dgm:prSet/>
      <dgm:spPr>
        <a:ln w="12700"/>
      </dgm:spPr>
      <dgm:t>
        <a:bodyPr/>
        <a:lstStyle/>
        <a:p>
          <a:endParaRPr lang="en-US"/>
        </a:p>
      </dgm:t>
    </dgm:pt>
    <dgm:pt modelId="{615EEF69-52A3-1F40-BDCA-31FDC95C4760}" type="sibTrans" cxnId="{3E4A5429-8BCA-944D-AB8D-720FA5999758}">
      <dgm:prSet/>
      <dgm:spPr/>
      <dgm:t>
        <a:bodyPr/>
        <a:lstStyle/>
        <a:p>
          <a:endParaRPr lang="en-US"/>
        </a:p>
      </dgm:t>
    </dgm:pt>
    <dgm:pt modelId="{BB7FF6FE-797C-A44A-9D4C-CFDEEE968370}">
      <dgm:prSet phldrT="[Text]"/>
      <dgm:spPr>
        <a:ln w="12700">
          <a:prstDash val="sysDot"/>
        </a:ln>
      </dgm:spPr>
      <dgm:t>
        <a:bodyPr/>
        <a:lstStyle/>
        <a:p>
          <a:pPr algn="ctr"/>
          <a:r>
            <a:rPr lang="en-US"/>
            <a:t>Random Contrast</a:t>
          </a:r>
        </a:p>
      </dgm:t>
    </dgm:pt>
    <dgm:pt modelId="{3CE3F545-B057-374A-84F7-B2EB28713636}" type="parTrans" cxnId="{B11E9D09-882F-DE4A-A0DB-BD9AC54E36E0}">
      <dgm:prSet/>
      <dgm:spPr>
        <a:ln w="12700"/>
      </dgm:spPr>
      <dgm:t>
        <a:bodyPr/>
        <a:lstStyle/>
        <a:p>
          <a:endParaRPr lang="en-US"/>
        </a:p>
      </dgm:t>
    </dgm:pt>
    <dgm:pt modelId="{1659CE55-4891-D147-B81E-D28DB407D1A2}" type="sibTrans" cxnId="{B11E9D09-882F-DE4A-A0DB-BD9AC54E36E0}">
      <dgm:prSet/>
      <dgm:spPr/>
      <dgm:t>
        <a:bodyPr/>
        <a:lstStyle/>
        <a:p>
          <a:endParaRPr lang="en-US"/>
        </a:p>
      </dgm:t>
    </dgm:pt>
    <dgm:pt modelId="{7A4A313A-787E-D44E-9672-1ADC98137784}">
      <dgm:prSet phldrT="[Text]"/>
      <dgm:spPr>
        <a:ln w="12700">
          <a:prstDash val="sysDot"/>
        </a:ln>
      </dgm:spPr>
      <dgm:t>
        <a:bodyPr/>
        <a:lstStyle/>
        <a:p>
          <a:pPr algn="ctr"/>
          <a:r>
            <a:rPr lang="en-US"/>
            <a:t>Random Brightness</a:t>
          </a:r>
        </a:p>
      </dgm:t>
    </dgm:pt>
    <dgm:pt modelId="{561208C4-9533-2543-912A-CCB495E3ADDC}" type="parTrans" cxnId="{E7641AA6-C410-D741-BB3B-73156EDB9417}">
      <dgm:prSet/>
      <dgm:spPr>
        <a:ln w="12700"/>
      </dgm:spPr>
      <dgm:t>
        <a:bodyPr/>
        <a:lstStyle/>
        <a:p>
          <a:endParaRPr lang="en-US"/>
        </a:p>
      </dgm:t>
    </dgm:pt>
    <dgm:pt modelId="{E77B2878-3194-7341-B478-EF22FCF11484}" type="sibTrans" cxnId="{E7641AA6-C410-D741-BB3B-73156EDB9417}">
      <dgm:prSet/>
      <dgm:spPr/>
      <dgm:t>
        <a:bodyPr/>
        <a:lstStyle/>
        <a:p>
          <a:endParaRPr lang="en-US"/>
        </a:p>
      </dgm:t>
    </dgm:pt>
    <dgm:pt modelId="{DF0345FB-D31A-6C42-B0C2-A03A9B418B74}">
      <dgm:prSet phldrT="[Text]"/>
      <dgm:spPr>
        <a:ln w="12700">
          <a:prstDash val="sysDot"/>
        </a:ln>
      </dgm:spPr>
      <dgm:t>
        <a:bodyPr/>
        <a:lstStyle/>
        <a:p>
          <a:pPr algn="ctr"/>
          <a:r>
            <a:rPr lang="en-US"/>
            <a:t>Random Translation</a:t>
          </a:r>
        </a:p>
      </dgm:t>
    </dgm:pt>
    <dgm:pt modelId="{357E9776-9CAB-2944-B9E5-F706BCEBBCF8}" type="parTrans" cxnId="{E9B8FCF7-F332-2D4C-9EEF-15B53822B78F}">
      <dgm:prSet/>
      <dgm:spPr>
        <a:ln w="12700"/>
      </dgm:spPr>
      <dgm:t>
        <a:bodyPr/>
        <a:lstStyle/>
        <a:p>
          <a:endParaRPr lang="en-US"/>
        </a:p>
      </dgm:t>
    </dgm:pt>
    <dgm:pt modelId="{5EFB5E0A-DBBB-624C-A0B0-A9B342C578A9}" type="sibTrans" cxnId="{E9B8FCF7-F332-2D4C-9EEF-15B53822B78F}">
      <dgm:prSet/>
      <dgm:spPr/>
      <dgm:t>
        <a:bodyPr/>
        <a:lstStyle/>
        <a:p>
          <a:endParaRPr lang="en-US"/>
        </a:p>
      </dgm:t>
    </dgm:pt>
    <dgm:pt modelId="{1A4E3B01-8B28-D04D-BF84-EAB39B31CBB7}">
      <dgm:prSet phldrT="[Text]"/>
      <dgm:spPr>
        <a:ln w="12700">
          <a:prstDash val="sysDot"/>
        </a:ln>
      </dgm:spPr>
      <dgm:t>
        <a:bodyPr/>
        <a:lstStyle/>
        <a:p>
          <a:pPr algn="ctr"/>
          <a:r>
            <a:rPr lang="en-US"/>
            <a:t>Monitoring validation loss</a:t>
          </a:r>
        </a:p>
        <a:p>
          <a:pPr algn="ctr"/>
          <a:r>
            <a:rPr lang="en-US"/>
            <a:t> with patience = 3</a:t>
          </a:r>
        </a:p>
      </dgm:t>
    </dgm:pt>
    <dgm:pt modelId="{7A3E218D-3D08-0746-97E6-237F4F5CB815}" type="parTrans" cxnId="{25296D1B-686A-9A40-B16E-32DCA29ED994}">
      <dgm:prSet/>
      <dgm:spPr>
        <a:ln w="12700"/>
      </dgm:spPr>
      <dgm:t>
        <a:bodyPr/>
        <a:lstStyle/>
        <a:p>
          <a:endParaRPr lang="en-US"/>
        </a:p>
      </dgm:t>
    </dgm:pt>
    <dgm:pt modelId="{0C6021E1-200D-5B4B-AA17-733FEE1D745B}" type="sibTrans" cxnId="{25296D1B-686A-9A40-B16E-32DCA29ED994}">
      <dgm:prSet/>
      <dgm:spPr/>
      <dgm:t>
        <a:bodyPr/>
        <a:lstStyle/>
        <a:p>
          <a:endParaRPr lang="en-US"/>
        </a:p>
      </dgm:t>
    </dgm:pt>
    <dgm:pt modelId="{57A77E14-0104-CB4E-A025-C69028049923}">
      <dgm:prSet phldrT="[Text]"/>
      <dgm:spPr>
        <a:ln w="12700">
          <a:prstDash val="sysDot"/>
        </a:ln>
      </dgm:spPr>
      <dgm:t>
        <a:bodyPr/>
        <a:lstStyle/>
        <a:p>
          <a:pPr algn="ctr"/>
          <a:r>
            <a:rPr lang="en-US"/>
            <a:t>100 Epochs instead of only 10</a:t>
          </a:r>
        </a:p>
      </dgm:t>
    </dgm:pt>
    <dgm:pt modelId="{F753E6C5-16A1-EC4B-9327-EDE6FE299900}" type="parTrans" cxnId="{98B0EF7B-F542-E94D-9460-54CD58E04146}">
      <dgm:prSet/>
      <dgm:spPr>
        <a:ln w="12700"/>
      </dgm:spPr>
      <dgm:t>
        <a:bodyPr/>
        <a:lstStyle/>
        <a:p>
          <a:endParaRPr lang="en-US"/>
        </a:p>
      </dgm:t>
    </dgm:pt>
    <dgm:pt modelId="{F54481B6-CD36-094A-AF0D-EBD8B99677D9}" type="sibTrans" cxnId="{98B0EF7B-F542-E94D-9460-54CD58E04146}">
      <dgm:prSet/>
      <dgm:spPr/>
      <dgm:t>
        <a:bodyPr/>
        <a:lstStyle/>
        <a:p>
          <a:endParaRPr lang="en-US"/>
        </a:p>
      </dgm:t>
    </dgm:pt>
    <dgm:pt modelId="{BE89600E-7229-2241-A6CA-F9E3C89E8655}" type="pres">
      <dgm:prSet presAssocID="{2DAF4BBD-EFB7-9A48-8299-7DF046A95DAE}" presName="diagram" presStyleCnt="0">
        <dgm:presLayoutVars>
          <dgm:chPref val="1"/>
          <dgm:dir/>
          <dgm:animOne val="branch"/>
          <dgm:animLvl val="lvl"/>
          <dgm:resizeHandles val="exact"/>
        </dgm:presLayoutVars>
      </dgm:prSet>
      <dgm:spPr/>
    </dgm:pt>
    <dgm:pt modelId="{AEF36EE5-CDCF-364F-972F-73AA0BFA433E}" type="pres">
      <dgm:prSet presAssocID="{22E819D1-6F5E-E442-B1D0-0CA8184253F7}" presName="root1" presStyleCnt="0"/>
      <dgm:spPr/>
    </dgm:pt>
    <dgm:pt modelId="{9316FDD8-872F-EA44-BC31-9A613B4F3255}" type="pres">
      <dgm:prSet presAssocID="{22E819D1-6F5E-E442-B1D0-0CA8184253F7}" presName="LevelOneTextNode" presStyleLbl="node0" presStyleIdx="0" presStyleCnt="3">
        <dgm:presLayoutVars>
          <dgm:chPref val="3"/>
        </dgm:presLayoutVars>
      </dgm:prSet>
      <dgm:spPr/>
    </dgm:pt>
    <dgm:pt modelId="{8B49AF26-3242-DE4C-BB34-56F6BE523C23}" type="pres">
      <dgm:prSet presAssocID="{22E819D1-6F5E-E442-B1D0-0CA8184253F7}" presName="level2hierChild" presStyleCnt="0"/>
      <dgm:spPr/>
    </dgm:pt>
    <dgm:pt modelId="{6B26A4A9-C65E-B849-AA1F-82D89F129B6E}" type="pres">
      <dgm:prSet presAssocID="{1F332150-248E-154B-B081-906899427A6E}" presName="conn2-1" presStyleLbl="parChTrans1D2" presStyleIdx="0" presStyleCnt="7"/>
      <dgm:spPr/>
    </dgm:pt>
    <dgm:pt modelId="{1FA5D7C7-1018-294C-A438-815D40CDDAA7}" type="pres">
      <dgm:prSet presAssocID="{1F332150-248E-154B-B081-906899427A6E}" presName="connTx" presStyleLbl="parChTrans1D2" presStyleIdx="0" presStyleCnt="7"/>
      <dgm:spPr/>
    </dgm:pt>
    <dgm:pt modelId="{DFD41DF3-60A9-714A-B47C-CDE1708C5710}" type="pres">
      <dgm:prSet presAssocID="{5041762C-0FAA-5045-8BEB-CBE937486934}" presName="root2" presStyleCnt="0"/>
      <dgm:spPr/>
    </dgm:pt>
    <dgm:pt modelId="{A91BF052-F138-3147-A5C5-C502BE45B08F}" type="pres">
      <dgm:prSet presAssocID="{5041762C-0FAA-5045-8BEB-CBE937486934}" presName="LevelTwoTextNode" presStyleLbl="node2" presStyleIdx="0" presStyleCnt="7" custScaleX="207553">
        <dgm:presLayoutVars>
          <dgm:chPref val="3"/>
        </dgm:presLayoutVars>
      </dgm:prSet>
      <dgm:spPr/>
    </dgm:pt>
    <dgm:pt modelId="{D515D3D4-EBCD-E344-AAB6-DA4345B463EB}" type="pres">
      <dgm:prSet presAssocID="{5041762C-0FAA-5045-8BEB-CBE937486934}" presName="level3hierChild" presStyleCnt="0"/>
      <dgm:spPr/>
    </dgm:pt>
    <dgm:pt modelId="{C8E6C50F-C079-7745-9765-1B439824A3F9}" type="pres">
      <dgm:prSet presAssocID="{74CFF98C-94BB-8641-9022-7E22E08D2469}" presName="conn2-1" presStyleLbl="parChTrans1D2" presStyleIdx="1" presStyleCnt="7"/>
      <dgm:spPr/>
    </dgm:pt>
    <dgm:pt modelId="{3F1749A4-7DF3-E547-B6D0-3AA647C0FC04}" type="pres">
      <dgm:prSet presAssocID="{74CFF98C-94BB-8641-9022-7E22E08D2469}" presName="connTx" presStyleLbl="parChTrans1D2" presStyleIdx="1" presStyleCnt="7"/>
      <dgm:spPr/>
    </dgm:pt>
    <dgm:pt modelId="{78C6E632-0FF0-DD42-8C12-E0601EF89939}" type="pres">
      <dgm:prSet presAssocID="{AC8E7823-8A7E-2240-BBB7-84C766BDEB91}" presName="root2" presStyleCnt="0"/>
      <dgm:spPr/>
    </dgm:pt>
    <dgm:pt modelId="{80BDAAB5-E8DA-A24A-B2B3-2FE7DC97A2EE}" type="pres">
      <dgm:prSet presAssocID="{AC8E7823-8A7E-2240-BBB7-84C766BDEB91}" presName="LevelTwoTextNode" presStyleLbl="node2" presStyleIdx="1" presStyleCnt="7" custScaleX="207553">
        <dgm:presLayoutVars>
          <dgm:chPref val="3"/>
        </dgm:presLayoutVars>
      </dgm:prSet>
      <dgm:spPr/>
    </dgm:pt>
    <dgm:pt modelId="{964392E8-FB59-A84F-BEE1-142AA8B3A92F}" type="pres">
      <dgm:prSet presAssocID="{AC8E7823-8A7E-2240-BBB7-84C766BDEB91}" presName="level3hierChild" presStyleCnt="0"/>
      <dgm:spPr/>
    </dgm:pt>
    <dgm:pt modelId="{156175B4-C4FE-484F-B6B4-0630C84E9C24}" type="pres">
      <dgm:prSet presAssocID="{3CE3F545-B057-374A-84F7-B2EB28713636}" presName="conn2-1" presStyleLbl="parChTrans1D2" presStyleIdx="2" presStyleCnt="7"/>
      <dgm:spPr/>
    </dgm:pt>
    <dgm:pt modelId="{2AA2AABB-58C6-5949-B0DB-6D5C2A7CE1A7}" type="pres">
      <dgm:prSet presAssocID="{3CE3F545-B057-374A-84F7-B2EB28713636}" presName="connTx" presStyleLbl="parChTrans1D2" presStyleIdx="2" presStyleCnt="7"/>
      <dgm:spPr/>
    </dgm:pt>
    <dgm:pt modelId="{3FDC98D5-D2B1-D243-8A1A-EB584458C86D}" type="pres">
      <dgm:prSet presAssocID="{BB7FF6FE-797C-A44A-9D4C-CFDEEE968370}" presName="root2" presStyleCnt="0"/>
      <dgm:spPr/>
    </dgm:pt>
    <dgm:pt modelId="{86CFBC85-1771-7343-A37E-3353824A39E5}" type="pres">
      <dgm:prSet presAssocID="{BB7FF6FE-797C-A44A-9D4C-CFDEEE968370}" presName="LevelTwoTextNode" presStyleLbl="node2" presStyleIdx="2" presStyleCnt="7" custScaleX="207553">
        <dgm:presLayoutVars>
          <dgm:chPref val="3"/>
        </dgm:presLayoutVars>
      </dgm:prSet>
      <dgm:spPr/>
    </dgm:pt>
    <dgm:pt modelId="{B9985F90-E938-824D-A064-2A7311267E66}" type="pres">
      <dgm:prSet presAssocID="{BB7FF6FE-797C-A44A-9D4C-CFDEEE968370}" presName="level3hierChild" presStyleCnt="0"/>
      <dgm:spPr/>
    </dgm:pt>
    <dgm:pt modelId="{F33EFA89-C3CF-844D-B8F5-656013CE8860}" type="pres">
      <dgm:prSet presAssocID="{561208C4-9533-2543-912A-CCB495E3ADDC}" presName="conn2-1" presStyleLbl="parChTrans1D2" presStyleIdx="3" presStyleCnt="7"/>
      <dgm:spPr/>
    </dgm:pt>
    <dgm:pt modelId="{1B3013AB-06E2-D34E-8859-6598ED9B26E5}" type="pres">
      <dgm:prSet presAssocID="{561208C4-9533-2543-912A-CCB495E3ADDC}" presName="connTx" presStyleLbl="parChTrans1D2" presStyleIdx="3" presStyleCnt="7"/>
      <dgm:spPr/>
    </dgm:pt>
    <dgm:pt modelId="{BA61C7DA-3A51-AF44-953C-B1CFADAC2047}" type="pres">
      <dgm:prSet presAssocID="{7A4A313A-787E-D44E-9672-1ADC98137784}" presName="root2" presStyleCnt="0"/>
      <dgm:spPr/>
    </dgm:pt>
    <dgm:pt modelId="{6F3DD340-3A24-AC4E-B181-C736346881E5}" type="pres">
      <dgm:prSet presAssocID="{7A4A313A-787E-D44E-9672-1ADC98137784}" presName="LevelTwoTextNode" presStyleLbl="node2" presStyleIdx="3" presStyleCnt="7" custScaleX="207553">
        <dgm:presLayoutVars>
          <dgm:chPref val="3"/>
        </dgm:presLayoutVars>
      </dgm:prSet>
      <dgm:spPr/>
    </dgm:pt>
    <dgm:pt modelId="{4B1C90F7-7F92-814D-96B3-63C5EB649C3A}" type="pres">
      <dgm:prSet presAssocID="{7A4A313A-787E-D44E-9672-1ADC98137784}" presName="level3hierChild" presStyleCnt="0"/>
      <dgm:spPr/>
    </dgm:pt>
    <dgm:pt modelId="{87EBF2E3-4441-C44D-B465-DBEFDB3995B0}" type="pres">
      <dgm:prSet presAssocID="{357E9776-9CAB-2944-B9E5-F706BCEBBCF8}" presName="conn2-1" presStyleLbl="parChTrans1D2" presStyleIdx="4" presStyleCnt="7"/>
      <dgm:spPr/>
    </dgm:pt>
    <dgm:pt modelId="{05FB8D24-7AAF-5B4F-9921-5708F2B2594A}" type="pres">
      <dgm:prSet presAssocID="{357E9776-9CAB-2944-B9E5-F706BCEBBCF8}" presName="connTx" presStyleLbl="parChTrans1D2" presStyleIdx="4" presStyleCnt="7"/>
      <dgm:spPr/>
    </dgm:pt>
    <dgm:pt modelId="{C4E96CA2-A799-DB4E-A4CA-D6339208C72D}" type="pres">
      <dgm:prSet presAssocID="{DF0345FB-D31A-6C42-B0C2-A03A9B418B74}" presName="root2" presStyleCnt="0"/>
      <dgm:spPr/>
    </dgm:pt>
    <dgm:pt modelId="{06EF309D-A05E-8440-9447-8E0652C9938E}" type="pres">
      <dgm:prSet presAssocID="{DF0345FB-D31A-6C42-B0C2-A03A9B418B74}" presName="LevelTwoTextNode" presStyleLbl="node2" presStyleIdx="4" presStyleCnt="7" custScaleX="207553">
        <dgm:presLayoutVars>
          <dgm:chPref val="3"/>
        </dgm:presLayoutVars>
      </dgm:prSet>
      <dgm:spPr/>
    </dgm:pt>
    <dgm:pt modelId="{ACFEA204-12BF-2A42-A46F-6012E2C1868C}" type="pres">
      <dgm:prSet presAssocID="{DF0345FB-D31A-6C42-B0C2-A03A9B418B74}" presName="level3hierChild" presStyleCnt="0"/>
      <dgm:spPr/>
    </dgm:pt>
    <dgm:pt modelId="{C986173D-B6CA-2A48-9E93-11C63FD43536}" type="pres">
      <dgm:prSet presAssocID="{AE6D0EC3-E7A6-D045-8AB3-B0296302B3C8}" presName="root1" presStyleCnt="0"/>
      <dgm:spPr/>
    </dgm:pt>
    <dgm:pt modelId="{82151661-3278-AC41-97E0-24581590B11E}" type="pres">
      <dgm:prSet presAssocID="{AE6D0EC3-E7A6-D045-8AB3-B0296302B3C8}" presName="LevelOneTextNode" presStyleLbl="node0" presStyleIdx="1" presStyleCnt="3">
        <dgm:presLayoutVars>
          <dgm:chPref val="3"/>
        </dgm:presLayoutVars>
      </dgm:prSet>
      <dgm:spPr/>
    </dgm:pt>
    <dgm:pt modelId="{E0DB2F7E-6896-BE41-B081-AE60455179CB}" type="pres">
      <dgm:prSet presAssocID="{AE6D0EC3-E7A6-D045-8AB3-B0296302B3C8}" presName="level2hierChild" presStyleCnt="0"/>
      <dgm:spPr/>
    </dgm:pt>
    <dgm:pt modelId="{C1B782B6-8491-E448-9003-0B1725918558}" type="pres">
      <dgm:prSet presAssocID="{F753E6C5-16A1-EC4B-9327-EDE6FE299900}" presName="conn2-1" presStyleLbl="parChTrans1D2" presStyleIdx="5" presStyleCnt="7"/>
      <dgm:spPr/>
    </dgm:pt>
    <dgm:pt modelId="{64E5F9E2-5ED7-9B46-8B16-08129E7F6901}" type="pres">
      <dgm:prSet presAssocID="{F753E6C5-16A1-EC4B-9327-EDE6FE299900}" presName="connTx" presStyleLbl="parChTrans1D2" presStyleIdx="5" presStyleCnt="7"/>
      <dgm:spPr/>
    </dgm:pt>
    <dgm:pt modelId="{F5EC76F4-47EB-E746-9598-F9A0F1C1A32D}" type="pres">
      <dgm:prSet presAssocID="{57A77E14-0104-CB4E-A025-C69028049923}" presName="root2" presStyleCnt="0"/>
      <dgm:spPr/>
    </dgm:pt>
    <dgm:pt modelId="{FA2F917F-A778-6E40-A6A2-326312421619}" type="pres">
      <dgm:prSet presAssocID="{57A77E14-0104-CB4E-A025-C69028049923}" presName="LevelTwoTextNode" presStyleLbl="node2" presStyleIdx="5" presStyleCnt="7" custScaleX="207553">
        <dgm:presLayoutVars>
          <dgm:chPref val="3"/>
        </dgm:presLayoutVars>
      </dgm:prSet>
      <dgm:spPr/>
    </dgm:pt>
    <dgm:pt modelId="{E72CF8F4-F4C4-B54E-A8BD-FFC080FC3FB2}" type="pres">
      <dgm:prSet presAssocID="{57A77E14-0104-CB4E-A025-C69028049923}" presName="level3hierChild" presStyleCnt="0"/>
      <dgm:spPr/>
    </dgm:pt>
    <dgm:pt modelId="{4A0C4D72-A0E1-4B41-B9E2-8516946458AD}" type="pres">
      <dgm:prSet presAssocID="{8E33786C-5288-844C-9E85-9F1174597C6C}" presName="root1" presStyleCnt="0"/>
      <dgm:spPr/>
    </dgm:pt>
    <dgm:pt modelId="{973D98EC-B6C3-EE43-BF98-66E290A8CF80}" type="pres">
      <dgm:prSet presAssocID="{8E33786C-5288-844C-9E85-9F1174597C6C}" presName="LevelOneTextNode" presStyleLbl="node0" presStyleIdx="2" presStyleCnt="3">
        <dgm:presLayoutVars>
          <dgm:chPref val="3"/>
        </dgm:presLayoutVars>
      </dgm:prSet>
      <dgm:spPr/>
    </dgm:pt>
    <dgm:pt modelId="{1FEE0603-5ED6-9347-81FE-E56668B63256}" type="pres">
      <dgm:prSet presAssocID="{8E33786C-5288-844C-9E85-9F1174597C6C}" presName="level2hierChild" presStyleCnt="0"/>
      <dgm:spPr/>
    </dgm:pt>
    <dgm:pt modelId="{30CA4377-8D46-3B40-9738-1063EC96EC0D}" type="pres">
      <dgm:prSet presAssocID="{7A3E218D-3D08-0746-97E6-237F4F5CB815}" presName="conn2-1" presStyleLbl="parChTrans1D2" presStyleIdx="6" presStyleCnt="7"/>
      <dgm:spPr/>
    </dgm:pt>
    <dgm:pt modelId="{2F6569F0-D6B7-5D40-AAE8-85C23CA6F927}" type="pres">
      <dgm:prSet presAssocID="{7A3E218D-3D08-0746-97E6-237F4F5CB815}" presName="connTx" presStyleLbl="parChTrans1D2" presStyleIdx="6" presStyleCnt="7"/>
      <dgm:spPr/>
    </dgm:pt>
    <dgm:pt modelId="{BAD87828-6BB2-7C47-ACF7-1D9857AE7FF8}" type="pres">
      <dgm:prSet presAssocID="{1A4E3B01-8B28-D04D-BF84-EAB39B31CBB7}" presName="root2" presStyleCnt="0"/>
      <dgm:spPr/>
    </dgm:pt>
    <dgm:pt modelId="{05929E7C-CD3F-7640-8C66-E284486EE659}" type="pres">
      <dgm:prSet presAssocID="{1A4E3B01-8B28-D04D-BF84-EAB39B31CBB7}" presName="LevelTwoTextNode" presStyleLbl="node2" presStyleIdx="6" presStyleCnt="7" custScaleX="207553">
        <dgm:presLayoutVars>
          <dgm:chPref val="3"/>
        </dgm:presLayoutVars>
      </dgm:prSet>
      <dgm:spPr/>
    </dgm:pt>
    <dgm:pt modelId="{1CC5488A-23A0-634E-A16B-69D3EF8A9375}" type="pres">
      <dgm:prSet presAssocID="{1A4E3B01-8B28-D04D-BF84-EAB39B31CBB7}" presName="level3hierChild" presStyleCnt="0"/>
      <dgm:spPr/>
    </dgm:pt>
  </dgm:ptLst>
  <dgm:cxnLst>
    <dgm:cxn modelId="{B4A70A01-3FB2-0048-A4B4-0A8A51626E26}" type="presOf" srcId="{AC8E7823-8A7E-2240-BBB7-84C766BDEB91}" destId="{80BDAAB5-E8DA-A24A-B2B3-2FE7DC97A2EE}" srcOrd="0" destOrd="0" presId="urn:microsoft.com/office/officeart/2005/8/layout/hierarchy2"/>
    <dgm:cxn modelId="{DA608A01-3527-ED49-8BFD-D28BDC83E191}" type="presOf" srcId="{3CE3F545-B057-374A-84F7-B2EB28713636}" destId="{156175B4-C4FE-484F-B6B4-0630C84E9C24}" srcOrd="0" destOrd="0" presId="urn:microsoft.com/office/officeart/2005/8/layout/hierarchy2"/>
    <dgm:cxn modelId="{9C5A8008-B6CE-2E43-BDE2-A4238BE42DDF}" type="presOf" srcId="{1F332150-248E-154B-B081-906899427A6E}" destId="{1FA5D7C7-1018-294C-A438-815D40CDDAA7}" srcOrd="1" destOrd="0" presId="urn:microsoft.com/office/officeart/2005/8/layout/hierarchy2"/>
    <dgm:cxn modelId="{B11E9D09-882F-DE4A-A0DB-BD9AC54E36E0}" srcId="{22E819D1-6F5E-E442-B1D0-0CA8184253F7}" destId="{BB7FF6FE-797C-A44A-9D4C-CFDEEE968370}" srcOrd="2" destOrd="0" parTransId="{3CE3F545-B057-374A-84F7-B2EB28713636}" sibTransId="{1659CE55-4891-D147-B81E-D28DB407D1A2}"/>
    <dgm:cxn modelId="{6279AF0B-A0A5-1544-A645-EC41042E91EC}" type="presOf" srcId="{7A3E218D-3D08-0746-97E6-237F4F5CB815}" destId="{30CA4377-8D46-3B40-9738-1063EC96EC0D}" srcOrd="0" destOrd="0" presId="urn:microsoft.com/office/officeart/2005/8/layout/hierarchy2"/>
    <dgm:cxn modelId="{AC4B6112-98FD-A94B-83B0-C01E5CDAE7B5}" type="presOf" srcId="{8E33786C-5288-844C-9E85-9F1174597C6C}" destId="{973D98EC-B6C3-EE43-BF98-66E290A8CF80}" srcOrd="0" destOrd="0" presId="urn:microsoft.com/office/officeart/2005/8/layout/hierarchy2"/>
    <dgm:cxn modelId="{25296D1B-686A-9A40-B16E-32DCA29ED994}" srcId="{8E33786C-5288-844C-9E85-9F1174597C6C}" destId="{1A4E3B01-8B28-D04D-BF84-EAB39B31CBB7}" srcOrd="0" destOrd="0" parTransId="{7A3E218D-3D08-0746-97E6-237F4F5CB815}" sibTransId="{0C6021E1-200D-5B4B-AA17-733FEE1D745B}"/>
    <dgm:cxn modelId="{BAC2581F-AF8A-254E-B4B3-37106221DA59}" type="presOf" srcId="{74CFF98C-94BB-8641-9022-7E22E08D2469}" destId="{C8E6C50F-C079-7745-9765-1B439824A3F9}" srcOrd="0" destOrd="0" presId="urn:microsoft.com/office/officeart/2005/8/layout/hierarchy2"/>
    <dgm:cxn modelId="{9D186424-50AF-0241-A857-5D5A5FDDC727}" type="presOf" srcId="{357E9776-9CAB-2944-B9E5-F706BCEBBCF8}" destId="{05FB8D24-7AAF-5B4F-9921-5708F2B2594A}" srcOrd="1" destOrd="0" presId="urn:microsoft.com/office/officeart/2005/8/layout/hierarchy2"/>
    <dgm:cxn modelId="{3E4A5429-8BCA-944D-AB8D-720FA5999758}" srcId="{22E819D1-6F5E-E442-B1D0-0CA8184253F7}" destId="{AC8E7823-8A7E-2240-BBB7-84C766BDEB91}" srcOrd="1" destOrd="0" parTransId="{74CFF98C-94BB-8641-9022-7E22E08D2469}" sibTransId="{615EEF69-52A3-1F40-BDCA-31FDC95C4760}"/>
    <dgm:cxn modelId="{284E112A-A311-9E41-B2DD-DD798FE15A49}" type="presOf" srcId="{2DAF4BBD-EFB7-9A48-8299-7DF046A95DAE}" destId="{BE89600E-7229-2241-A6CA-F9E3C89E8655}" srcOrd="0" destOrd="0" presId="urn:microsoft.com/office/officeart/2005/8/layout/hierarchy2"/>
    <dgm:cxn modelId="{670C7E3D-2A29-9B4E-B456-027999FBE1C1}" type="presOf" srcId="{57A77E14-0104-CB4E-A025-C69028049923}" destId="{FA2F917F-A778-6E40-A6A2-326312421619}" srcOrd="0" destOrd="0" presId="urn:microsoft.com/office/officeart/2005/8/layout/hierarchy2"/>
    <dgm:cxn modelId="{AB20B340-90D4-194E-9659-E36CE3DC2FD5}" type="presOf" srcId="{357E9776-9CAB-2944-B9E5-F706BCEBBCF8}" destId="{87EBF2E3-4441-C44D-B465-DBEFDB3995B0}" srcOrd="0" destOrd="0" presId="urn:microsoft.com/office/officeart/2005/8/layout/hierarchy2"/>
    <dgm:cxn modelId="{6B9C0043-6C79-D74C-982D-AA4E5644D5DF}" type="presOf" srcId="{7A3E218D-3D08-0746-97E6-237F4F5CB815}" destId="{2F6569F0-D6B7-5D40-AAE8-85C23CA6F927}" srcOrd="1" destOrd="0" presId="urn:microsoft.com/office/officeart/2005/8/layout/hierarchy2"/>
    <dgm:cxn modelId="{F3899365-8A7A-6F4F-B8B4-2F39B6FD8EE9}" srcId="{2DAF4BBD-EFB7-9A48-8299-7DF046A95DAE}" destId="{8E33786C-5288-844C-9E85-9F1174597C6C}" srcOrd="2" destOrd="0" parTransId="{2208AA59-BB78-D143-9507-48EBC648E503}" sibTransId="{BC82E9BE-759C-2A43-A566-B1EA37C80065}"/>
    <dgm:cxn modelId="{065CD26A-DBBB-D640-ADC4-1AA45CADCE8A}" type="presOf" srcId="{F753E6C5-16A1-EC4B-9327-EDE6FE299900}" destId="{64E5F9E2-5ED7-9B46-8B16-08129E7F6901}" srcOrd="1" destOrd="0" presId="urn:microsoft.com/office/officeart/2005/8/layout/hierarchy2"/>
    <dgm:cxn modelId="{9492DC6E-06E8-8E4D-A4B1-858F110E213E}" type="presOf" srcId="{1F332150-248E-154B-B081-906899427A6E}" destId="{6B26A4A9-C65E-B849-AA1F-82D89F129B6E}" srcOrd="0" destOrd="0" presId="urn:microsoft.com/office/officeart/2005/8/layout/hierarchy2"/>
    <dgm:cxn modelId="{A17A7555-AAEA-D64F-A690-EFBF2E8EA5BD}" srcId="{22E819D1-6F5E-E442-B1D0-0CA8184253F7}" destId="{5041762C-0FAA-5045-8BEB-CBE937486934}" srcOrd="0" destOrd="0" parTransId="{1F332150-248E-154B-B081-906899427A6E}" sibTransId="{ED18179C-0F31-F648-9730-A68C6A2E7E55}"/>
    <dgm:cxn modelId="{98B0EF7B-F542-E94D-9460-54CD58E04146}" srcId="{AE6D0EC3-E7A6-D045-8AB3-B0296302B3C8}" destId="{57A77E14-0104-CB4E-A025-C69028049923}" srcOrd="0" destOrd="0" parTransId="{F753E6C5-16A1-EC4B-9327-EDE6FE299900}" sibTransId="{F54481B6-CD36-094A-AF0D-EBD8B99677D9}"/>
    <dgm:cxn modelId="{8802497C-9BB2-9B4D-95FA-75518E50D8B3}" srcId="{2DAF4BBD-EFB7-9A48-8299-7DF046A95DAE}" destId="{AE6D0EC3-E7A6-D045-8AB3-B0296302B3C8}" srcOrd="1" destOrd="0" parTransId="{5AE40FCC-7755-E043-9AA7-75A897154F29}" sibTransId="{25A90E26-FCCF-174A-9162-E3270CA9F41C}"/>
    <dgm:cxn modelId="{3585897F-BF4B-AC46-859A-2491D9D48854}" type="presOf" srcId="{F753E6C5-16A1-EC4B-9327-EDE6FE299900}" destId="{C1B782B6-8491-E448-9003-0B1725918558}" srcOrd="0" destOrd="0" presId="urn:microsoft.com/office/officeart/2005/8/layout/hierarchy2"/>
    <dgm:cxn modelId="{1836B581-01FE-4B42-8843-68D4C7B50521}" type="presOf" srcId="{DF0345FB-D31A-6C42-B0C2-A03A9B418B74}" destId="{06EF309D-A05E-8440-9447-8E0652C9938E}" srcOrd="0" destOrd="0" presId="urn:microsoft.com/office/officeart/2005/8/layout/hierarchy2"/>
    <dgm:cxn modelId="{A660A486-4AD8-6642-8D29-CD8E83881429}" type="presOf" srcId="{561208C4-9533-2543-912A-CCB495E3ADDC}" destId="{1B3013AB-06E2-D34E-8859-6598ED9B26E5}" srcOrd="1" destOrd="0" presId="urn:microsoft.com/office/officeart/2005/8/layout/hierarchy2"/>
    <dgm:cxn modelId="{9FB9E388-D340-5C4C-9F8D-C7F869D3976F}" type="presOf" srcId="{1A4E3B01-8B28-D04D-BF84-EAB39B31CBB7}" destId="{05929E7C-CD3F-7640-8C66-E284486EE659}" srcOrd="0" destOrd="0" presId="urn:microsoft.com/office/officeart/2005/8/layout/hierarchy2"/>
    <dgm:cxn modelId="{1680C08D-17C5-7E47-A9BC-5BDABE834D0A}" type="presOf" srcId="{74CFF98C-94BB-8641-9022-7E22E08D2469}" destId="{3F1749A4-7DF3-E547-B6D0-3AA647C0FC04}" srcOrd="1" destOrd="0" presId="urn:microsoft.com/office/officeart/2005/8/layout/hierarchy2"/>
    <dgm:cxn modelId="{96D9E18E-ACEC-734D-9ADE-66B2DC4B6FD7}" type="presOf" srcId="{561208C4-9533-2543-912A-CCB495E3ADDC}" destId="{F33EFA89-C3CF-844D-B8F5-656013CE8860}" srcOrd="0" destOrd="0" presId="urn:microsoft.com/office/officeart/2005/8/layout/hierarchy2"/>
    <dgm:cxn modelId="{97F3F69F-74FE-D64B-9743-DE1917D40431}" type="presOf" srcId="{3CE3F545-B057-374A-84F7-B2EB28713636}" destId="{2AA2AABB-58C6-5949-B0DB-6D5C2A7CE1A7}" srcOrd="1" destOrd="0" presId="urn:microsoft.com/office/officeart/2005/8/layout/hierarchy2"/>
    <dgm:cxn modelId="{AED5D1A2-F2E5-6245-BB8D-18D6C07AB948}" type="presOf" srcId="{7A4A313A-787E-D44E-9672-1ADC98137784}" destId="{6F3DD340-3A24-AC4E-B181-C736346881E5}" srcOrd="0" destOrd="0" presId="urn:microsoft.com/office/officeart/2005/8/layout/hierarchy2"/>
    <dgm:cxn modelId="{E7641AA6-C410-D741-BB3B-73156EDB9417}" srcId="{22E819D1-6F5E-E442-B1D0-0CA8184253F7}" destId="{7A4A313A-787E-D44E-9672-1ADC98137784}" srcOrd="3" destOrd="0" parTransId="{561208C4-9533-2543-912A-CCB495E3ADDC}" sibTransId="{E77B2878-3194-7341-B478-EF22FCF11484}"/>
    <dgm:cxn modelId="{E5BDD6B3-92BF-3743-944D-79F9567156BB}" type="presOf" srcId="{BB7FF6FE-797C-A44A-9D4C-CFDEEE968370}" destId="{86CFBC85-1771-7343-A37E-3353824A39E5}" srcOrd="0" destOrd="0" presId="urn:microsoft.com/office/officeart/2005/8/layout/hierarchy2"/>
    <dgm:cxn modelId="{5D8ED4BC-3361-0144-A78C-4CA4E68A8AA9}" type="presOf" srcId="{5041762C-0FAA-5045-8BEB-CBE937486934}" destId="{A91BF052-F138-3147-A5C5-C502BE45B08F}" srcOrd="0" destOrd="0" presId="urn:microsoft.com/office/officeart/2005/8/layout/hierarchy2"/>
    <dgm:cxn modelId="{AA24C1DC-51A9-2044-9FC3-2372C6889113}" srcId="{2DAF4BBD-EFB7-9A48-8299-7DF046A95DAE}" destId="{22E819D1-6F5E-E442-B1D0-0CA8184253F7}" srcOrd="0" destOrd="0" parTransId="{97383EDB-4208-914D-B6AC-4B64C57ADCFF}" sibTransId="{26FAE4BB-4862-BB41-928B-A1CF0A3C93D5}"/>
    <dgm:cxn modelId="{2A420BEF-5BA8-4145-9962-386375FFB719}" type="presOf" srcId="{22E819D1-6F5E-E442-B1D0-0CA8184253F7}" destId="{9316FDD8-872F-EA44-BC31-9A613B4F3255}" srcOrd="0" destOrd="0" presId="urn:microsoft.com/office/officeart/2005/8/layout/hierarchy2"/>
    <dgm:cxn modelId="{E9B8FCF7-F332-2D4C-9EEF-15B53822B78F}" srcId="{22E819D1-6F5E-E442-B1D0-0CA8184253F7}" destId="{DF0345FB-D31A-6C42-B0C2-A03A9B418B74}" srcOrd="4" destOrd="0" parTransId="{357E9776-9CAB-2944-B9E5-F706BCEBBCF8}" sibTransId="{5EFB5E0A-DBBB-624C-A0B0-A9B342C578A9}"/>
    <dgm:cxn modelId="{BCAC6CF8-EB50-0047-8A1D-1BC9C3EB3AB4}" type="presOf" srcId="{AE6D0EC3-E7A6-D045-8AB3-B0296302B3C8}" destId="{82151661-3278-AC41-97E0-24581590B11E}" srcOrd="0" destOrd="0" presId="urn:microsoft.com/office/officeart/2005/8/layout/hierarchy2"/>
    <dgm:cxn modelId="{53043A9B-4D2B-164E-9A33-0E951D96675B}" type="presParOf" srcId="{BE89600E-7229-2241-A6CA-F9E3C89E8655}" destId="{AEF36EE5-CDCF-364F-972F-73AA0BFA433E}" srcOrd="0" destOrd="0" presId="urn:microsoft.com/office/officeart/2005/8/layout/hierarchy2"/>
    <dgm:cxn modelId="{9232F4F7-C0D3-BE4A-A118-00C14A9CC9B6}" type="presParOf" srcId="{AEF36EE5-CDCF-364F-972F-73AA0BFA433E}" destId="{9316FDD8-872F-EA44-BC31-9A613B4F3255}" srcOrd="0" destOrd="0" presId="urn:microsoft.com/office/officeart/2005/8/layout/hierarchy2"/>
    <dgm:cxn modelId="{12532BF5-13EE-4D41-B85F-1A8F36B6402D}" type="presParOf" srcId="{AEF36EE5-CDCF-364F-972F-73AA0BFA433E}" destId="{8B49AF26-3242-DE4C-BB34-56F6BE523C23}" srcOrd="1" destOrd="0" presId="urn:microsoft.com/office/officeart/2005/8/layout/hierarchy2"/>
    <dgm:cxn modelId="{6E6D7C93-BB71-424E-A183-0200B131CF84}" type="presParOf" srcId="{8B49AF26-3242-DE4C-BB34-56F6BE523C23}" destId="{6B26A4A9-C65E-B849-AA1F-82D89F129B6E}" srcOrd="0" destOrd="0" presId="urn:microsoft.com/office/officeart/2005/8/layout/hierarchy2"/>
    <dgm:cxn modelId="{6630F114-B190-D54A-B200-1B433DA27CD7}" type="presParOf" srcId="{6B26A4A9-C65E-B849-AA1F-82D89F129B6E}" destId="{1FA5D7C7-1018-294C-A438-815D40CDDAA7}" srcOrd="0" destOrd="0" presId="urn:microsoft.com/office/officeart/2005/8/layout/hierarchy2"/>
    <dgm:cxn modelId="{5BC33D71-3D4C-564A-AD5E-CDB27DEE044F}" type="presParOf" srcId="{8B49AF26-3242-DE4C-BB34-56F6BE523C23}" destId="{DFD41DF3-60A9-714A-B47C-CDE1708C5710}" srcOrd="1" destOrd="0" presId="urn:microsoft.com/office/officeart/2005/8/layout/hierarchy2"/>
    <dgm:cxn modelId="{C31F74EE-F2B2-354B-AFB5-0DABE026BE73}" type="presParOf" srcId="{DFD41DF3-60A9-714A-B47C-CDE1708C5710}" destId="{A91BF052-F138-3147-A5C5-C502BE45B08F}" srcOrd="0" destOrd="0" presId="urn:microsoft.com/office/officeart/2005/8/layout/hierarchy2"/>
    <dgm:cxn modelId="{7A02C0B9-F88C-884E-855B-CBF01880FCD5}" type="presParOf" srcId="{DFD41DF3-60A9-714A-B47C-CDE1708C5710}" destId="{D515D3D4-EBCD-E344-AAB6-DA4345B463EB}" srcOrd="1" destOrd="0" presId="urn:microsoft.com/office/officeart/2005/8/layout/hierarchy2"/>
    <dgm:cxn modelId="{52E6836F-2E7D-0146-AA92-27C1CE2CE49B}" type="presParOf" srcId="{8B49AF26-3242-DE4C-BB34-56F6BE523C23}" destId="{C8E6C50F-C079-7745-9765-1B439824A3F9}" srcOrd="2" destOrd="0" presId="urn:microsoft.com/office/officeart/2005/8/layout/hierarchy2"/>
    <dgm:cxn modelId="{CDB77088-2AA6-524D-A452-D419465D848C}" type="presParOf" srcId="{C8E6C50F-C079-7745-9765-1B439824A3F9}" destId="{3F1749A4-7DF3-E547-B6D0-3AA647C0FC04}" srcOrd="0" destOrd="0" presId="urn:microsoft.com/office/officeart/2005/8/layout/hierarchy2"/>
    <dgm:cxn modelId="{824E7497-D55A-CD4F-8226-5D794A495D1E}" type="presParOf" srcId="{8B49AF26-3242-DE4C-BB34-56F6BE523C23}" destId="{78C6E632-0FF0-DD42-8C12-E0601EF89939}" srcOrd="3" destOrd="0" presId="urn:microsoft.com/office/officeart/2005/8/layout/hierarchy2"/>
    <dgm:cxn modelId="{47279701-6D43-144D-9775-931038C98EC5}" type="presParOf" srcId="{78C6E632-0FF0-DD42-8C12-E0601EF89939}" destId="{80BDAAB5-E8DA-A24A-B2B3-2FE7DC97A2EE}" srcOrd="0" destOrd="0" presId="urn:microsoft.com/office/officeart/2005/8/layout/hierarchy2"/>
    <dgm:cxn modelId="{85810103-015A-974D-B435-933619CF662D}" type="presParOf" srcId="{78C6E632-0FF0-DD42-8C12-E0601EF89939}" destId="{964392E8-FB59-A84F-BEE1-142AA8B3A92F}" srcOrd="1" destOrd="0" presId="urn:microsoft.com/office/officeart/2005/8/layout/hierarchy2"/>
    <dgm:cxn modelId="{58CE4DDD-A84B-7843-A744-6C13B108E706}" type="presParOf" srcId="{8B49AF26-3242-DE4C-BB34-56F6BE523C23}" destId="{156175B4-C4FE-484F-B6B4-0630C84E9C24}" srcOrd="4" destOrd="0" presId="urn:microsoft.com/office/officeart/2005/8/layout/hierarchy2"/>
    <dgm:cxn modelId="{C42ABE89-94A7-2C48-9F49-FC6B83AFFACF}" type="presParOf" srcId="{156175B4-C4FE-484F-B6B4-0630C84E9C24}" destId="{2AA2AABB-58C6-5949-B0DB-6D5C2A7CE1A7}" srcOrd="0" destOrd="0" presId="urn:microsoft.com/office/officeart/2005/8/layout/hierarchy2"/>
    <dgm:cxn modelId="{7745E0C6-5F98-3941-B2F0-B46DB85FC0BC}" type="presParOf" srcId="{8B49AF26-3242-DE4C-BB34-56F6BE523C23}" destId="{3FDC98D5-D2B1-D243-8A1A-EB584458C86D}" srcOrd="5" destOrd="0" presId="urn:microsoft.com/office/officeart/2005/8/layout/hierarchy2"/>
    <dgm:cxn modelId="{2A406CFE-95FB-B148-875A-162BEA9E0EF7}" type="presParOf" srcId="{3FDC98D5-D2B1-D243-8A1A-EB584458C86D}" destId="{86CFBC85-1771-7343-A37E-3353824A39E5}" srcOrd="0" destOrd="0" presId="urn:microsoft.com/office/officeart/2005/8/layout/hierarchy2"/>
    <dgm:cxn modelId="{982B92BE-A692-464C-A701-077D399E2343}" type="presParOf" srcId="{3FDC98D5-D2B1-D243-8A1A-EB584458C86D}" destId="{B9985F90-E938-824D-A064-2A7311267E66}" srcOrd="1" destOrd="0" presId="urn:microsoft.com/office/officeart/2005/8/layout/hierarchy2"/>
    <dgm:cxn modelId="{BE74C125-1D41-3340-876B-C8B115CA3108}" type="presParOf" srcId="{8B49AF26-3242-DE4C-BB34-56F6BE523C23}" destId="{F33EFA89-C3CF-844D-B8F5-656013CE8860}" srcOrd="6" destOrd="0" presId="urn:microsoft.com/office/officeart/2005/8/layout/hierarchy2"/>
    <dgm:cxn modelId="{AA6A320F-D257-9F48-A4E8-F8F508D50DA6}" type="presParOf" srcId="{F33EFA89-C3CF-844D-B8F5-656013CE8860}" destId="{1B3013AB-06E2-D34E-8859-6598ED9B26E5}" srcOrd="0" destOrd="0" presId="urn:microsoft.com/office/officeart/2005/8/layout/hierarchy2"/>
    <dgm:cxn modelId="{01DC536B-D4DF-D149-ADED-FA635AE23A03}" type="presParOf" srcId="{8B49AF26-3242-DE4C-BB34-56F6BE523C23}" destId="{BA61C7DA-3A51-AF44-953C-B1CFADAC2047}" srcOrd="7" destOrd="0" presId="urn:microsoft.com/office/officeart/2005/8/layout/hierarchy2"/>
    <dgm:cxn modelId="{DB089D09-5792-AB42-9812-6E42FBED8A40}" type="presParOf" srcId="{BA61C7DA-3A51-AF44-953C-B1CFADAC2047}" destId="{6F3DD340-3A24-AC4E-B181-C736346881E5}" srcOrd="0" destOrd="0" presId="urn:microsoft.com/office/officeart/2005/8/layout/hierarchy2"/>
    <dgm:cxn modelId="{9C0D08FE-D783-9B4E-8E8E-F03C61B8C859}" type="presParOf" srcId="{BA61C7DA-3A51-AF44-953C-B1CFADAC2047}" destId="{4B1C90F7-7F92-814D-96B3-63C5EB649C3A}" srcOrd="1" destOrd="0" presId="urn:microsoft.com/office/officeart/2005/8/layout/hierarchy2"/>
    <dgm:cxn modelId="{5AD2193C-65AE-CC49-B1E3-7C4A3022A170}" type="presParOf" srcId="{8B49AF26-3242-DE4C-BB34-56F6BE523C23}" destId="{87EBF2E3-4441-C44D-B465-DBEFDB3995B0}" srcOrd="8" destOrd="0" presId="urn:microsoft.com/office/officeart/2005/8/layout/hierarchy2"/>
    <dgm:cxn modelId="{EE866594-22E0-9940-BD2B-A0A0D11219CF}" type="presParOf" srcId="{87EBF2E3-4441-C44D-B465-DBEFDB3995B0}" destId="{05FB8D24-7AAF-5B4F-9921-5708F2B2594A}" srcOrd="0" destOrd="0" presId="urn:microsoft.com/office/officeart/2005/8/layout/hierarchy2"/>
    <dgm:cxn modelId="{F52E68A7-EFC2-A94C-9C72-F0437A1E9255}" type="presParOf" srcId="{8B49AF26-3242-DE4C-BB34-56F6BE523C23}" destId="{C4E96CA2-A799-DB4E-A4CA-D6339208C72D}" srcOrd="9" destOrd="0" presId="urn:microsoft.com/office/officeart/2005/8/layout/hierarchy2"/>
    <dgm:cxn modelId="{C5657E32-E04C-0340-82A9-4B0A86C67B9A}" type="presParOf" srcId="{C4E96CA2-A799-DB4E-A4CA-D6339208C72D}" destId="{06EF309D-A05E-8440-9447-8E0652C9938E}" srcOrd="0" destOrd="0" presId="urn:microsoft.com/office/officeart/2005/8/layout/hierarchy2"/>
    <dgm:cxn modelId="{39D06DBE-F94E-6A4B-9F1E-2FB5CEED7C8B}" type="presParOf" srcId="{C4E96CA2-A799-DB4E-A4CA-D6339208C72D}" destId="{ACFEA204-12BF-2A42-A46F-6012E2C1868C}" srcOrd="1" destOrd="0" presId="urn:microsoft.com/office/officeart/2005/8/layout/hierarchy2"/>
    <dgm:cxn modelId="{CB8F3EBC-A999-4E46-BE75-87EBB68F4BC1}" type="presParOf" srcId="{BE89600E-7229-2241-A6CA-F9E3C89E8655}" destId="{C986173D-B6CA-2A48-9E93-11C63FD43536}" srcOrd="1" destOrd="0" presId="urn:microsoft.com/office/officeart/2005/8/layout/hierarchy2"/>
    <dgm:cxn modelId="{BF55FC2A-E8F5-9246-BE52-5B7081AFAAEC}" type="presParOf" srcId="{C986173D-B6CA-2A48-9E93-11C63FD43536}" destId="{82151661-3278-AC41-97E0-24581590B11E}" srcOrd="0" destOrd="0" presId="urn:microsoft.com/office/officeart/2005/8/layout/hierarchy2"/>
    <dgm:cxn modelId="{B04FB664-D6A8-9545-B024-50549B303045}" type="presParOf" srcId="{C986173D-B6CA-2A48-9E93-11C63FD43536}" destId="{E0DB2F7E-6896-BE41-B081-AE60455179CB}" srcOrd="1" destOrd="0" presId="urn:microsoft.com/office/officeart/2005/8/layout/hierarchy2"/>
    <dgm:cxn modelId="{8A8A5ECE-432D-E642-8CF7-DB1F2B09E5D7}" type="presParOf" srcId="{E0DB2F7E-6896-BE41-B081-AE60455179CB}" destId="{C1B782B6-8491-E448-9003-0B1725918558}" srcOrd="0" destOrd="0" presId="urn:microsoft.com/office/officeart/2005/8/layout/hierarchy2"/>
    <dgm:cxn modelId="{33C4729B-5550-6449-A8D4-E73ED85AA4EB}" type="presParOf" srcId="{C1B782B6-8491-E448-9003-0B1725918558}" destId="{64E5F9E2-5ED7-9B46-8B16-08129E7F6901}" srcOrd="0" destOrd="0" presId="urn:microsoft.com/office/officeart/2005/8/layout/hierarchy2"/>
    <dgm:cxn modelId="{E9EC1A7E-0798-894D-BD24-94AFA913A59A}" type="presParOf" srcId="{E0DB2F7E-6896-BE41-B081-AE60455179CB}" destId="{F5EC76F4-47EB-E746-9598-F9A0F1C1A32D}" srcOrd="1" destOrd="0" presId="urn:microsoft.com/office/officeart/2005/8/layout/hierarchy2"/>
    <dgm:cxn modelId="{BF1A8EA3-7734-F242-9782-B5F52A8FF145}" type="presParOf" srcId="{F5EC76F4-47EB-E746-9598-F9A0F1C1A32D}" destId="{FA2F917F-A778-6E40-A6A2-326312421619}" srcOrd="0" destOrd="0" presId="urn:microsoft.com/office/officeart/2005/8/layout/hierarchy2"/>
    <dgm:cxn modelId="{A8181137-61C1-5A4D-907B-711A87F9954D}" type="presParOf" srcId="{F5EC76F4-47EB-E746-9598-F9A0F1C1A32D}" destId="{E72CF8F4-F4C4-B54E-A8BD-FFC080FC3FB2}" srcOrd="1" destOrd="0" presId="urn:microsoft.com/office/officeart/2005/8/layout/hierarchy2"/>
    <dgm:cxn modelId="{18454444-7786-8B4E-BD11-DF3E0323C11B}" type="presParOf" srcId="{BE89600E-7229-2241-A6CA-F9E3C89E8655}" destId="{4A0C4D72-A0E1-4B41-B9E2-8516946458AD}" srcOrd="2" destOrd="0" presId="urn:microsoft.com/office/officeart/2005/8/layout/hierarchy2"/>
    <dgm:cxn modelId="{DCD57A30-9C3A-844C-9599-4687E3EC5849}" type="presParOf" srcId="{4A0C4D72-A0E1-4B41-B9E2-8516946458AD}" destId="{973D98EC-B6C3-EE43-BF98-66E290A8CF80}" srcOrd="0" destOrd="0" presId="urn:microsoft.com/office/officeart/2005/8/layout/hierarchy2"/>
    <dgm:cxn modelId="{E3ADC31A-CE8A-844C-A3EB-54E0E755E57C}" type="presParOf" srcId="{4A0C4D72-A0E1-4B41-B9E2-8516946458AD}" destId="{1FEE0603-5ED6-9347-81FE-E56668B63256}" srcOrd="1" destOrd="0" presId="urn:microsoft.com/office/officeart/2005/8/layout/hierarchy2"/>
    <dgm:cxn modelId="{A1E662AB-FD92-AF42-BA48-58FBAEBF5F31}" type="presParOf" srcId="{1FEE0603-5ED6-9347-81FE-E56668B63256}" destId="{30CA4377-8D46-3B40-9738-1063EC96EC0D}" srcOrd="0" destOrd="0" presId="urn:microsoft.com/office/officeart/2005/8/layout/hierarchy2"/>
    <dgm:cxn modelId="{F1A67031-83A8-D54B-80BB-006F2087D172}" type="presParOf" srcId="{30CA4377-8D46-3B40-9738-1063EC96EC0D}" destId="{2F6569F0-D6B7-5D40-AAE8-85C23CA6F927}" srcOrd="0" destOrd="0" presId="urn:microsoft.com/office/officeart/2005/8/layout/hierarchy2"/>
    <dgm:cxn modelId="{09BD0498-DCB4-1747-8037-6DC45E8274B6}" type="presParOf" srcId="{1FEE0603-5ED6-9347-81FE-E56668B63256}" destId="{BAD87828-6BB2-7C47-ACF7-1D9857AE7FF8}" srcOrd="1" destOrd="0" presId="urn:microsoft.com/office/officeart/2005/8/layout/hierarchy2"/>
    <dgm:cxn modelId="{E42AA641-2907-ED42-967C-0E5523129DD5}" type="presParOf" srcId="{BAD87828-6BB2-7C47-ACF7-1D9857AE7FF8}" destId="{05929E7C-CD3F-7640-8C66-E284486EE659}" srcOrd="0" destOrd="0" presId="urn:microsoft.com/office/officeart/2005/8/layout/hierarchy2"/>
    <dgm:cxn modelId="{08BEC6B1-6809-2D4D-8C7C-D26EC67EF846}" type="presParOf" srcId="{BAD87828-6BB2-7C47-ACF7-1D9857AE7FF8}" destId="{1CC5488A-23A0-634E-A16B-69D3EF8A9375}" srcOrd="1" destOrd="0" presId="urn:microsoft.com/office/officeart/2005/8/layout/hierarchy2"/>
  </dgm:cxnLst>
  <dgm:bg/>
  <dgm:whole>
    <a:ln w="12700"/>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87AD75F-D03D-804A-9EB4-8D0E82D14E9E}" type="doc">
      <dgm:prSet loTypeId="urn:microsoft.com/office/officeart/2008/layout/VerticalCurvedList" loCatId="" qsTypeId="urn:microsoft.com/office/officeart/2005/8/quickstyle/simple1" qsCatId="simple" csTypeId="urn:microsoft.com/office/officeart/2005/8/colors/accent0_2" csCatId="mainScheme" phldr="1"/>
      <dgm:spPr/>
      <dgm:t>
        <a:bodyPr/>
        <a:lstStyle/>
        <a:p>
          <a:endParaRPr lang="en-US"/>
        </a:p>
      </dgm:t>
    </dgm:pt>
    <dgm:pt modelId="{740F8A81-B403-AF40-B3DC-F42F9595466D}">
      <dgm:prSet phldrT="[Text]" custT="1"/>
      <dgm:spPr>
        <a:noFill/>
        <a:ln w="12700">
          <a:solidFill>
            <a:schemeClr val="tx1"/>
          </a:solidFill>
          <a:prstDash val="sysDash"/>
        </a:ln>
      </dgm:spPr>
      <dgm:t>
        <a:bodyPr/>
        <a:lstStyle/>
        <a:p>
          <a:r>
            <a:rPr lang="en-US" sz="1000">
              <a:solidFill>
                <a:schemeClr val="tx1"/>
              </a:solidFill>
              <a:latin typeface="Helvetica Neue"/>
            </a:rPr>
            <a:t>Learning rate</a:t>
          </a:r>
        </a:p>
      </dgm:t>
    </dgm:pt>
    <dgm:pt modelId="{347F55A5-482D-CF4D-9BBF-A5FD381E027A}" type="parTrans" cxnId="{4B2F7500-5773-8C4E-B182-F87C06534431}">
      <dgm:prSet/>
      <dgm:spPr/>
      <dgm:t>
        <a:bodyPr/>
        <a:lstStyle/>
        <a:p>
          <a:endParaRPr lang="en-US"/>
        </a:p>
      </dgm:t>
    </dgm:pt>
    <dgm:pt modelId="{21372A71-CBE1-DB42-BC9F-6848524F27D8}" type="sibTrans" cxnId="{4B2F7500-5773-8C4E-B182-F87C06534431}">
      <dgm:prSet/>
      <dgm:spPr>
        <a:solidFill>
          <a:srgbClr val="D5D5D5"/>
        </a:solidFill>
        <a:ln w="19050">
          <a:noFill/>
        </a:ln>
      </dgm:spPr>
      <dgm:t>
        <a:bodyPr/>
        <a:lstStyle/>
        <a:p>
          <a:endParaRPr lang="en-US"/>
        </a:p>
      </dgm:t>
    </dgm:pt>
    <dgm:pt modelId="{6BA161FB-2C22-D642-9538-3579189E3839}">
      <dgm:prSet phldrT="[Text]" custT="1"/>
      <dgm:spPr>
        <a:noFill/>
        <a:ln w="12700">
          <a:solidFill>
            <a:schemeClr val="tx1"/>
          </a:solidFill>
          <a:prstDash val="sysDash"/>
        </a:ln>
      </dgm:spPr>
      <dgm:t>
        <a:bodyPr/>
        <a:lstStyle/>
        <a:p>
          <a:pPr rtl="0"/>
          <a:r>
            <a:rPr lang="en-US" sz="1000">
              <a:solidFill>
                <a:schemeClr val="tx1"/>
              </a:solidFill>
              <a:latin typeface="Helvetica Neue"/>
            </a:rPr>
            <a:t># Neurons in dense layer</a:t>
          </a:r>
        </a:p>
      </dgm:t>
    </dgm:pt>
    <dgm:pt modelId="{995CCAFE-4EBF-C54F-ABCC-AD0BBA8A472F}" type="parTrans" cxnId="{F3B3EC10-A824-B745-8F19-1BA4CDF5AA88}">
      <dgm:prSet/>
      <dgm:spPr/>
      <dgm:t>
        <a:bodyPr/>
        <a:lstStyle/>
        <a:p>
          <a:endParaRPr lang="en-US"/>
        </a:p>
      </dgm:t>
    </dgm:pt>
    <dgm:pt modelId="{BD840C4A-0ACA-7E41-9168-24DC7E8769EC}" type="sibTrans" cxnId="{F3B3EC10-A824-B745-8F19-1BA4CDF5AA88}">
      <dgm:prSet/>
      <dgm:spPr/>
      <dgm:t>
        <a:bodyPr/>
        <a:lstStyle/>
        <a:p>
          <a:endParaRPr lang="en-US"/>
        </a:p>
      </dgm:t>
    </dgm:pt>
    <dgm:pt modelId="{F678A8AF-AE73-554E-A46A-D77F990BEE9F}">
      <dgm:prSet phldrT="[Text]" custT="1"/>
      <dgm:spPr>
        <a:noFill/>
        <a:ln w="12700">
          <a:solidFill>
            <a:schemeClr val="tx1"/>
          </a:solidFill>
          <a:prstDash val="sysDash"/>
        </a:ln>
      </dgm:spPr>
      <dgm:t>
        <a:bodyPr/>
        <a:lstStyle/>
        <a:p>
          <a:pPr rtl="0"/>
          <a:r>
            <a:rPr lang="en-US" sz="1000">
              <a:solidFill>
                <a:schemeClr val="tx1"/>
              </a:solidFill>
              <a:latin typeface="Helvetica Neue"/>
            </a:rPr>
            <a:t>Dropout Rate</a:t>
          </a:r>
        </a:p>
      </dgm:t>
    </dgm:pt>
    <dgm:pt modelId="{79706ACF-C3BF-BD48-B4D0-5A689FCA0F19}" type="parTrans" cxnId="{5E626DCE-E646-6A46-94AE-89760EF934FB}">
      <dgm:prSet/>
      <dgm:spPr/>
      <dgm:t>
        <a:bodyPr/>
        <a:lstStyle/>
        <a:p>
          <a:endParaRPr lang="en-US"/>
        </a:p>
      </dgm:t>
    </dgm:pt>
    <dgm:pt modelId="{6289BD91-69C2-FA4F-94FF-D558F00D9E24}" type="sibTrans" cxnId="{5E626DCE-E646-6A46-94AE-89760EF934FB}">
      <dgm:prSet/>
      <dgm:spPr/>
      <dgm:t>
        <a:bodyPr/>
        <a:lstStyle/>
        <a:p>
          <a:endParaRPr lang="en-US"/>
        </a:p>
      </dgm:t>
    </dgm:pt>
    <dgm:pt modelId="{3AE82B97-7DEB-3749-AE39-792E049971C3}">
      <dgm:prSet phldrT="[Text]" custT="1"/>
      <dgm:spPr>
        <a:noFill/>
        <a:ln w="12700">
          <a:solidFill>
            <a:schemeClr val="tx1"/>
          </a:solidFill>
          <a:prstDash val="sysDash"/>
        </a:ln>
      </dgm:spPr>
      <dgm:t>
        <a:bodyPr/>
        <a:lstStyle/>
        <a:p>
          <a:pPr rtl="0"/>
          <a:r>
            <a:rPr lang="en-US" sz="1000">
              <a:solidFill>
                <a:schemeClr val="tx1"/>
              </a:solidFill>
              <a:latin typeface="Helvetica Neue"/>
            </a:rPr>
            <a:t>Batch Normalization</a:t>
          </a:r>
        </a:p>
      </dgm:t>
    </dgm:pt>
    <dgm:pt modelId="{66773CF1-0B93-C642-BF9B-4F8421D15E51}" type="parTrans" cxnId="{4E467C34-2171-1847-81EA-387C003194EC}">
      <dgm:prSet/>
      <dgm:spPr/>
      <dgm:t>
        <a:bodyPr/>
        <a:lstStyle/>
        <a:p>
          <a:endParaRPr lang="en-US"/>
        </a:p>
      </dgm:t>
    </dgm:pt>
    <dgm:pt modelId="{FBEE7910-29D2-B54A-B088-6046B3C46113}" type="sibTrans" cxnId="{4E467C34-2171-1847-81EA-387C003194EC}">
      <dgm:prSet/>
      <dgm:spPr/>
      <dgm:t>
        <a:bodyPr/>
        <a:lstStyle/>
        <a:p>
          <a:endParaRPr lang="en-US"/>
        </a:p>
      </dgm:t>
    </dgm:pt>
    <dgm:pt modelId="{B1A86ECA-DA43-BA4B-A14A-56ADB7E149D3}">
      <dgm:prSet phldrT="[Text]" custT="1"/>
      <dgm:spPr>
        <a:noFill/>
        <a:ln w="12700">
          <a:solidFill>
            <a:schemeClr val="tx1"/>
          </a:solidFill>
          <a:prstDash val="sysDash"/>
        </a:ln>
      </dgm:spPr>
      <dgm:t>
        <a:bodyPr/>
        <a:lstStyle/>
        <a:p>
          <a:r>
            <a:rPr lang="en-US" sz="1000">
              <a:solidFill>
                <a:schemeClr val="tx1"/>
              </a:solidFill>
              <a:latin typeface="Helvetica Neue"/>
            </a:rPr>
            <a:t>L2 regularization</a:t>
          </a:r>
        </a:p>
      </dgm:t>
    </dgm:pt>
    <dgm:pt modelId="{318F4CE2-076A-614B-8B4F-EB78EB688051}" type="parTrans" cxnId="{890661C4-2CC1-304B-ACBF-62051EF2543D}">
      <dgm:prSet/>
      <dgm:spPr/>
      <dgm:t>
        <a:bodyPr/>
        <a:lstStyle/>
        <a:p>
          <a:endParaRPr lang="en-US"/>
        </a:p>
      </dgm:t>
    </dgm:pt>
    <dgm:pt modelId="{F122A74B-E343-BB47-AC50-47488000ADE7}" type="sibTrans" cxnId="{890661C4-2CC1-304B-ACBF-62051EF2543D}">
      <dgm:prSet/>
      <dgm:spPr/>
      <dgm:t>
        <a:bodyPr/>
        <a:lstStyle/>
        <a:p>
          <a:endParaRPr lang="en-US"/>
        </a:p>
      </dgm:t>
    </dgm:pt>
    <dgm:pt modelId="{16F302C7-7A15-F349-A202-283B47A4307E}" type="pres">
      <dgm:prSet presAssocID="{A87AD75F-D03D-804A-9EB4-8D0E82D14E9E}" presName="Name0" presStyleCnt="0">
        <dgm:presLayoutVars>
          <dgm:chMax val="7"/>
          <dgm:chPref val="7"/>
          <dgm:dir/>
        </dgm:presLayoutVars>
      </dgm:prSet>
      <dgm:spPr/>
    </dgm:pt>
    <dgm:pt modelId="{BF12137C-14A3-2E46-A784-9AFCAB828D6C}" type="pres">
      <dgm:prSet presAssocID="{A87AD75F-D03D-804A-9EB4-8D0E82D14E9E}" presName="Name1" presStyleCnt="0"/>
      <dgm:spPr/>
    </dgm:pt>
    <dgm:pt modelId="{AC6C78AA-D9A3-FA46-9CC5-9F563142BB1B}" type="pres">
      <dgm:prSet presAssocID="{A87AD75F-D03D-804A-9EB4-8D0E82D14E9E}" presName="cycle" presStyleCnt="0"/>
      <dgm:spPr/>
    </dgm:pt>
    <dgm:pt modelId="{094F7818-8388-AA46-985D-A42C003AE0DB}" type="pres">
      <dgm:prSet presAssocID="{A87AD75F-D03D-804A-9EB4-8D0E82D14E9E}" presName="srcNode" presStyleLbl="node1" presStyleIdx="0" presStyleCnt="5"/>
      <dgm:spPr/>
    </dgm:pt>
    <dgm:pt modelId="{3C05F29F-D528-194F-A6B5-AAA05D8DA922}" type="pres">
      <dgm:prSet presAssocID="{A87AD75F-D03D-804A-9EB4-8D0E82D14E9E}" presName="conn" presStyleLbl="parChTrans1D2" presStyleIdx="0" presStyleCnt="1"/>
      <dgm:spPr/>
    </dgm:pt>
    <dgm:pt modelId="{74CC8FB1-1B8D-BF4A-A4D9-69D713F9D3D8}" type="pres">
      <dgm:prSet presAssocID="{A87AD75F-D03D-804A-9EB4-8D0E82D14E9E}" presName="extraNode" presStyleLbl="node1" presStyleIdx="0" presStyleCnt="5"/>
      <dgm:spPr/>
    </dgm:pt>
    <dgm:pt modelId="{8738038E-661A-BB4A-A29D-CF1A8F21CE29}" type="pres">
      <dgm:prSet presAssocID="{A87AD75F-D03D-804A-9EB4-8D0E82D14E9E}" presName="dstNode" presStyleLbl="node1" presStyleIdx="0" presStyleCnt="5"/>
      <dgm:spPr/>
    </dgm:pt>
    <dgm:pt modelId="{C53C6827-930E-1A4E-8C8A-9F7275335C27}" type="pres">
      <dgm:prSet presAssocID="{740F8A81-B403-AF40-B3DC-F42F9595466D}" presName="text_1" presStyleLbl="node1" presStyleIdx="0" presStyleCnt="5">
        <dgm:presLayoutVars>
          <dgm:bulletEnabled val="1"/>
        </dgm:presLayoutVars>
      </dgm:prSet>
      <dgm:spPr/>
    </dgm:pt>
    <dgm:pt modelId="{88E015C7-501D-6342-BD3D-F877C815EE9B}" type="pres">
      <dgm:prSet presAssocID="{740F8A81-B403-AF40-B3DC-F42F9595466D}" presName="accent_1" presStyleCnt="0"/>
      <dgm:spPr/>
    </dgm:pt>
    <dgm:pt modelId="{1A95E120-89BB-1947-B752-24181DA708BE}" type="pres">
      <dgm:prSet presAssocID="{740F8A81-B403-AF40-B3DC-F42F9595466D}" presName="accentRepeatNode" presStyleLbl="solidFgAcc1" presStyleIdx="0" presStyleCnt="5"/>
      <dgm:spPr>
        <a:solidFill>
          <a:srgbClr val="D5D5D5"/>
        </a:solidFill>
        <a:ln w="12700">
          <a:solidFill>
            <a:schemeClr val="tx1"/>
          </a:solidFill>
        </a:ln>
      </dgm:spPr>
    </dgm:pt>
    <dgm:pt modelId="{C94723D8-D6DB-994D-B5D1-7632110C3EDF}" type="pres">
      <dgm:prSet presAssocID="{6BA161FB-2C22-D642-9538-3579189E3839}" presName="text_2" presStyleLbl="node1" presStyleIdx="1" presStyleCnt="5">
        <dgm:presLayoutVars>
          <dgm:bulletEnabled val="1"/>
        </dgm:presLayoutVars>
      </dgm:prSet>
      <dgm:spPr/>
    </dgm:pt>
    <dgm:pt modelId="{F0182712-78C3-3747-9AB2-88FBAA0EAC0F}" type="pres">
      <dgm:prSet presAssocID="{6BA161FB-2C22-D642-9538-3579189E3839}" presName="accent_2" presStyleCnt="0"/>
      <dgm:spPr/>
    </dgm:pt>
    <dgm:pt modelId="{45467174-D124-8848-9733-B54F52B065A1}" type="pres">
      <dgm:prSet presAssocID="{6BA161FB-2C22-D642-9538-3579189E3839}" presName="accentRepeatNode" presStyleLbl="solidFgAcc1" presStyleIdx="1" presStyleCnt="5"/>
      <dgm:spPr>
        <a:solidFill>
          <a:srgbClr val="D5D5D5"/>
        </a:solidFill>
        <a:ln w="12700">
          <a:solidFill>
            <a:schemeClr val="tx1"/>
          </a:solidFill>
        </a:ln>
      </dgm:spPr>
    </dgm:pt>
    <dgm:pt modelId="{E3A672AF-2563-904D-A2E4-595187B435B5}" type="pres">
      <dgm:prSet presAssocID="{F678A8AF-AE73-554E-A46A-D77F990BEE9F}" presName="text_3" presStyleLbl="node1" presStyleIdx="2" presStyleCnt="5">
        <dgm:presLayoutVars>
          <dgm:bulletEnabled val="1"/>
        </dgm:presLayoutVars>
      </dgm:prSet>
      <dgm:spPr/>
    </dgm:pt>
    <dgm:pt modelId="{AB75DE96-BCA9-4F45-AE69-B2D7C132F850}" type="pres">
      <dgm:prSet presAssocID="{F678A8AF-AE73-554E-A46A-D77F990BEE9F}" presName="accent_3" presStyleCnt="0"/>
      <dgm:spPr/>
    </dgm:pt>
    <dgm:pt modelId="{53E84DE1-3358-9147-B947-1BB2B3A74D13}" type="pres">
      <dgm:prSet presAssocID="{F678A8AF-AE73-554E-A46A-D77F990BEE9F}" presName="accentRepeatNode" presStyleLbl="solidFgAcc1" presStyleIdx="2" presStyleCnt="5"/>
      <dgm:spPr>
        <a:solidFill>
          <a:srgbClr val="D5D5D5"/>
        </a:solidFill>
        <a:ln w="12700">
          <a:solidFill>
            <a:schemeClr val="tx1"/>
          </a:solidFill>
        </a:ln>
      </dgm:spPr>
    </dgm:pt>
    <dgm:pt modelId="{A9CA9E59-AB4B-7C49-B8F6-0915801FB277}" type="pres">
      <dgm:prSet presAssocID="{3AE82B97-7DEB-3749-AE39-792E049971C3}" presName="text_4" presStyleLbl="node1" presStyleIdx="3" presStyleCnt="5">
        <dgm:presLayoutVars>
          <dgm:bulletEnabled val="1"/>
        </dgm:presLayoutVars>
      </dgm:prSet>
      <dgm:spPr/>
    </dgm:pt>
    <dgm:pt modelId="{49AC1CF9-7C29-0A40-B1A8-5551C01B95E2}" type="pres">
      <dgm:prSet presAssocID="{3AE82B97-7DEB-3749-AE39-792E049971C3}" presName="accent_4" presStyleCnt="0"/>
      <dgm:spPr/>
    </dgm:pt>
    <dgm:pt modelId="{042AA417-94A3-1D42-82E1-9BDDBFE67E38}" type="pres">
      <dgm:prSet presAssocID="{3AE82B97-7DEB-3749-AE39-792E049971C3}" presName="accentRepeatNode" presStyleLbl="solidFgAcc1" presStyleIdx="3" presStyleCnt="5"/>
      <dgm:spPr>
        <a:solidFill>
          <a:srgbClr val="D5D5D5"/>
        </a:solidFill>
        <a:ln w="12700">
          <a:solidFill>
            <a:schemeClr val="tx1"/>
          </a:solidFill>
        </a:ln>
      </dgm:spPr>
    </dgm:pt>
    <dgm:pt modelId="{FC5B182C-8CDE-0947-A257-54E72C0203C0}" type="pres">
      <dgm:prSet presAssocID="{B1A86ECA-DA43-BA4B-A14A-56ADB7E149D3}" presName="text_5" presStyleLbl="node1" presStyleIdx="4" presStyleCnt="5">
        <dgm:presLayoutVars>
          <dgm:bulletEnabled val="1"/>
        </dgm:presLayoutVars>
      </dgm:prSet>
      <dgm:spPr/>
    </dgm:pt>
    <dgm:pt modelId="{6ABE6FD7-5975-7F46-8F32-C522CB3D6E9F}" type="pres">
      <dgm:prSet presAssocID="{B1A86ECA-DA43-BA4B-A14A-56ADB7E149D3}" presName="accent_5" presStyleCnt="0"/>
      <dgm:spPr/>
    </dgm:pt>
    <dgm:pt modelId="{0C1DB10A-E691-F746-BD0C-B70BC01D07D3}" type="pres">
      <dgm:prSet presAssocID="{B1A86ECA-DA43-BA4B-A14A-56ADB7E149D3}" presName="accentRepeatNode" presStyleLbl="solidFgAcc1" presStyleIdx="4" presStyleCnt="5"/>
      <dgm:spPr>
        <a:solidFill>
          <a:srgbClr val="D5D5D5"/>
        </a:solidFill>
        <a:ln w="12700">
          <a:solidFill>
            <a:schemeClr val="tx1"/>
          </a:solidFill>
        </a:ln>
      </dgm:spPr>
    </dgm:pt>
  </dgm:ptLst>
  <dgm:cxnLst>
    <dgm:cxn modelId="{4B2F7500-5773-8C4E-B182-F87C06534431}" srcId="{A87AD75F-D03D-804A-9EB4-8D0E82D14E9E}" destId="{740F8A81-B403-AF40-B3DC-F42F9595466D}" srcOrd="0" destOrd="0" parTransId="{347F55A5-482D-CF4D-9BBF-A5FD381E027A}" sibTransId="{21372A71-CBE1-DB42-BC9F-6848524F27D8}"/>
    <dgm:cxn modelId="{F3B3EC10-A824-B745-8F19-1BA4CDF5AA88}" srcId="{A87AD75F-D03D-804A-9EB4-8D0E82D14E9E}" destId="{6BA161FB-2C22-D642-9538-3579189E3839}" srcOrd="1" destOrd="0" parTransId="{995CCAFE-4EBF-C54F-ABCC-AD0BBA8A472F}" sibTransId="{BD840C4A-0ACA-7E41-9168-24DC7E8769EC}"/>
    <dgm:cxn modelId="{4E467C34-2171-1847-81EA-387C003194EC}" srcId="{A87AD75F-D03D-804A-9EB4-8D0E82D14E9E}" destId="{3AE82B97-7DEB-3749-AE39-792E049971C3}" srcOrd="3" destOrd="0" parTransId="{66773CF1-0B93-C642-BF9B-4F8421D15E51}" sibTransId="{FBEE7910-29D2-B54A-B088-6046B3C46113}"/>
    <dgm:cxn modelId="{E738FE44-C38D-4FB1-A720-B0B01270FEFF}" type="presOf" srcId="{21372A71-CBE1-DB42-BC9F-6848524F27D8}" destId="{3C05F29F-D528-194F-A6B5-AAA05D8DA922}" srcOrd="0" destOrd="0" presId="urn:microsoft.com/office/officeart/2008/layout/VerticalCurvedList"/>
    <dgm:cxn modelId="{18A4B56A-1C4F-2D4F-A960-35C7EF6F7D61}" type="presOf" srcId="{3AE82B97-7DEB-3749-AE39-792E049971C3}" destId="{A9CA9E59-AB4B-7C49-B8F6-0915801FB277}" srcOrd="0" destOrd="0" presId="urn:microsoft.com/office/officeart/2008/layout/VerticalCurvedList"/>
    <dgm:cxn modelId="{88745E8D-7D70-6747-9B5E-1F05F0B2F9F4}" type="presOf" srcId="{A87AD75F-D03D-804A-9EB4-8D0E82D14E9E}" destId="{16F302C7-7A15-F349-A202-283B47A4307E}" srcOrd="0" destOrd="0" presId="urn:microsoft.com/office/officeart/2008/layout/VerticalCurvedList"/>
    <dgm:cxn modelId="{DF1109A0-7D10-BD4B-A522-F5DE3B517E29}" type="presOf" srcId="{B1A86ECA-DA43-BA4B-A14A-56ADB7E149D3}" destId="{FC5B182C-8CDE-0947-A257-54E72C0203C0}" srcOrd="0" destOrd="0" presId="urn:microsoft.com/office/officeart/2008/layout/VerticalCurvedList"/>
    <dgm:cxn modelId="{63596FB8-7713-4C49-B1E7-4DD07CF9CDD4}" type="presOf" srcId="{740F8A81-B403-AF40-B3DC-F42F9595466D}" destId="{C53C6827-930E-1A4E-8C8A-9F7275335C27}" srcOrd="0" destOrd="0" presId="urn:microsoft.com/office/officeart/2008/layout/VerticalCurvedList"/>
    <dgm:cxn modelId="{3473CEBD-B791-4243-BBE1-CAA8F2BE7F4C}" type="presOf" srcId="{6BA161FB-2C22-D642-9538-3579189E3839}" destId="{C94723D8-D6DB-994D-B5D1-7632110C3EDF}" srcOrd="0" destOrd="0" presId="urn:microsoft.com/office/officeart/2008/layout/VerticalCurvedList"/>
    <dgm:cxn modelId="{712252C0-5A74-FA42-ADF8-05D8FF569D3D}" type="presOf" srcId="{F678A8AF-AE73-554E-A46A-D77F990BEE9F}" destId="{E3A672AF-2563-904D-A2E4-595187B435B5}" srcOrd="0" destOrd="0" presId="urn:microsoft.com/office/officeart/2008/layout/VerticalCurvedList"/>
    <dgm:cxn modelId="{890661C4-2CC1-304B-ACBF-62051EF2543D}" srcId="{A87AD75F-D03D-804A-9EB4-8D0E82D14E9E}" destId="{B1A86ECA-DA43-BA4B-A14A-56ADB7E149D3}" srcOrd="4" destOrd="0" parTransId="{318F4CE2-076A-614B-8B4F-EB78EB688051}" sibTransId="{F122A74B-E343-BB47-AC50-47488000ADE7}"/>
    <dgm:cxn modelId="{5E626DCE-E646-6A46-94AE-89760EF934FB}" srcId="{A87AD75F-D03D-804A-9EB4-8D0E82D14E9E}" destId="{F678A8AF-AE73-554E-A46A-D77F990BEE9F}" srcOrd="2" destOrd="0" parTransId="{79706ACF-C3BF-BD48-B4D0-5A689FCA0F19}" sibTransId="{6289BD91-69C2-FA4F-94FF-D558F00D9E24}"/>
    <dgm:cxn modelId="{7D6DF2CE-D26B-46F0-8B91-86031A8554EF}" type="presParOf" srcId="{16F302C7-7A15-F349-A202-283B47A4307E}" destId="{BF12137C-14A3-2E46-A784-9AFCAB828D6C}" srcOrd="0" destOrd="0" presId="urn:microsoft.com/office/officeart/2008/layout/VerticalCurvedList"/>
    <dgm:cxn modelId="{D868777D-4886-43CF-882D-939599854AC8}" type="presParOf" srcId="{BF12137C-14A3-2E46-A784-9AFCAB828D6C}" destId="{AC6C78AA-D9A3-FA46-9CC5-9F563142BB1B}" srcOrd="0" destOrd="0" presId="urn:microsoft.com/office/officeart/2008/layout/VerticalCurvedList"/>
    <dgm:cxn modelId="{F856D2C7-48AC-4E57-847C-0445A6F6F929}" type="presParOf" srcId="{AC6C78AA-D9A3-FA46-9CC5-9F563142BB1B}" destId="{094F7818-8388-AA46-985D-A42C003AE0DB}" srcOrd="0" destOrd="0" presId="urn:microsoft.com/office/officeart/2008/layout/VerticalCurvedList"/>
    <dgm:cxn modelId="{E69A9D78-0EE6-4233-A36F-B888F3CD11A2}" type="presParOf" srcId="{AC6C78AA-D9A3-FA46-9CC5-9F563142BB1B}" destId="{3C05F29F-D528-194F-A6B5-AAA05D8DA922}" srcOrd="1" destOrd="0" presId="urn:microsoft.com/office/officeart/2008/layout/VerticalCurvedList"/>
    <dgm:cxn modelId="{92042238-E821-422F-AD3F-F50850CE0A88}" type="presParOf" srcId="{AC6C78AA-D9A3-FA46-9CC5-9F563142BB1B}" destId="{74CC8FB1-1B8D-BF4A-A4D9-69D713F9D3D8}" srcOrd="2" destOrd="0" presId="urn:microsoft.com/office/officeart/2008/layout/VerticalCurvedList"/>
    <dgm:cxn modelId="{4ED480F6-9E46-4D95-A79D-12875CEAEC0D}" type="presParOf" srcId="{AC6C78AA-D9A3-FA46-9CC5-9F563142BB1B}" destId="{8738038E-661A-BB4A-A29D-CF1A8F21CE29}" srcOrd="3" destOrd="0" presId="urn:microsoft.com/office/officeart/2008/layout/VerticalCurvedList"/>
    <dgm:cxn modelId="{1008951B-0712-4C3A-8883-F7D1DF0893C4}" type="presParOf" srcId="{BF12137C-14A3-2E46-A784-9AFCAB828D6C}" destId="{C53C6827-930E-1A4E-8C8A-9F7275335C27}" srcOrd="1" destOrd="0" presId="urn:microsoft.com/office/officeart/2008/layout/VerticalCurvedList"/>
    <dgm:cxn modelId="{2B4C63BA-1424-4E53-A389-7C82832441EA}" type="presParOf" srcId="{BF12137C-14A3-2E46-A784-9AFCAB828D6C}" destId="{88E015C7-501D-6342-BD3D-F877C815EE9B}" srcOrd="2" destOrd="0" presId="urn:microsoft.com/office/officeart/2008/layout/VerticalCurvedList"/>
    <dgm:cxn modelId="{E66755FA-FF33-4BF2-8991-2CFFD5B9A929}" type="presParOf" srcId="{88E015C7-501D-6342-BD3D-F877C815EE9B}" destId="{1A95E120-89BB-1947-B752-24181DA708BE}" srcOrd="0" destOrd="0" presId="urn:microsoft.com/office/officeart/2008/layout/VerticalCurvedList"/>
    <dgm:cxn modelId="{432A5AC6-EC6F-0744-B19F-1FC8365C24E1}" type="presParOf" srcId="{BF12137C-14A3-2E46-A784-9AFCAB828D6C}" destId="{C94723D8-D6DB-994D-B5D1-7632110C3EDF}" srcOrd="3" destOrd="0" presId="urn:microsoft.com/office/officeart/2008/layout/VerticalCurvedList"/>
    <dgm:cxn modelId="{1C45FE4C-9C21-B24B-9C69-B888271E4D44}" type="presParOf" srcId="{BF12137C-14A3-2E46-A784-9AFCAB828D6C}" destId="{F0182712-78C3-3747-9AB2-88FBAA0EAC0F}" srcOrd="4" destOrd="0" presId="urn:microsoft.com/office/officeart/2008/layout/VerticalCurvedList"/>
    <dgm:cxn modelId="{4D109CB2-F8B7-8F41-B24C-A111C7A339A1}" type="presParOf" srcId="{F0182712-78C3-3747-9AB2-88FBAA0EAC0F}" destId="{45467174-D124-8848-9733-B54F52B065A1}" srcOrd="0" destOrd="0" presId="urn:microsoft.com/office/officeart/2008/layout/VerticalCurvedList"/>
    <dgm:cxn modelId="{08E9DE44-C115-2745-945A-C81DB9A673E5}" type="presParOf" srcId="{BF12137C-14A3-2E46-A784-9AFCAB828D6C}" destId="{E3A672AF-2563-904D-A2E4-595187B435B5}" srcOrd="5" destOrd="0" presId="urn:microsoft.com/office/officeart/2008/layout/VerticalCurvedList"/>
    <dgm:cxn modelId="{6BA1B9E1-94FE-0B4C-887A-2FCCEA495456}" type="presParOf" srcId="{BF12137C-14A3-2E46-A784-9AFCAB828D6C}" destId="{AB75DE96-BCA9-4F45-AE69-B2D7C132F850}" srcOrd="6" destOrd="0" presId="urn:microsoft.com/office/officeart/2008/layout/VerticalCurvedList"/>
    <dgm:cxn modelId="{4552BBF3-AEBF-CC45-B759-26F64EAB817A}" type="presParOf" srcId="{AB75DE96-BCA9-4F45-AE69-B2D7C132F850}" destId="{53E84DE1-3358-9147-B947-1BB2B3A74D13}" srcOrd="0" destOrd="0" presId="urn:microsoft.com/office/officeart/2008/layout/VerticalCurvedList"/>
    <dgm:cxn modelId="{E75429B3-74FD-634B-BA81-9F0F1776B87A}" type="presParOf" srcId="{BF12137C-14A3-2E46-A784-9AFCAB828D6C}" destId="{A9CA9E59-AB4B-7C49-B8F6-0915801FB277}" srcOrd="7" destOrd="0" presId="urn:microsoft.com/office/officeart/2008/layout/VerticalCurvedList"/>
    <dgm:cxn modelId="{DE27926D-8D51-524E-82B3-D96583C02844}" type="presParOf" srcId="{BF12137C-14A3-2E46-A784-9AFCAB828D6C}" destId="{49AC1CF9-7C29-0A40-B1A8-5551C01B95E2}" srcOrd="8" destOrd="0" presId="urn:microsoft.com/office/officeart/2008/layout/VerticalCurvedList"/>
    <dgm:cxn modelId="{F7223959-8667-AB46-B1DC-927305C23AC3}" type="presParOf" srcId="{49AC1CF9-7C29-0A40-B1A8-5551C01B95E2}" destId="{042AA417-94A3-1D42-82E1-9BDDBFE67E38}" srcOrd="0" destOrd="0" presId="urn:microsoft.com/office/officeart/2008/layout/VerticalCurvedList"/>
    <dgm:cxn modelId="{F74295B9-C8B1-B94A-88BF-F9C5224DFB29}" type="presParOf" srcId="{BF12137C-14A3-2E46-A784-9AFCAB828D6C}" destId="{FC5B182C-8CDE-0947-A257-54E72C0203C0}" srcOrd="9" destOrd="0" presId="urn:microsoft.com/office/officeart/2008/layout/VerticalCurvedList"/>
    <dgm:cxn modelId="{5811FD8E-B3D1-D64C-8334-DB8EAB5666D5}" type="presParOf" srcId="{BF12137C-14A3-2E46-A784-9AFCAB828D6C}" destId="{6ABE6FD7-5975-7F46-8F32-C522CB3D6E9F}" srcOrd="10" destOrd="0" presId="urn:microsoft.com/office/officeart/2008/layout/VerticalCurvedList"/>
    <dgm:cxn modelId="{A437F0A8-B3DE-C347-9CF7-076408FBB9C8}" type="presParOf" srcId="{6ABE6FD7-5975-7F46-8F32-C522CB3D6E9F}" destId="{0C1DB10A-E691-F746-BD0C-B70BC01D07D3}"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2DAF4BBD-EFB7-9A48-8299-7DF046A95DAE}" type="doc">
      <dgm:prSet loTypeId="urn:microsoft.com/office/officeart/2005/8/layout/hierarchy2" loCatId="" qsTypeId="urn:microsoft.com/office/officeart/2005/8/quickstyle/simple1" qsCatId="simple" csTypeId="urn:microsoft.com/office/officeart/2005/8/colors/accent0_1" csCatId="mainScheme" phldr="1"/>
      <dgm:spPr/>
      <dgm:t>
        <a:bodyPr/>
        <a:lstStyle/>
        <a:p>
          <a:endParaRPr lang="en-US"/>
        </a:p>
      </dgm:t>
    </dgm:pt>
    <dgm:pt modelId="{AE6D0EC3-E7A6-D045-8AB3-B0296302B3C8}">
      <dgm:prSet phldrT="[Text]"/>
      <dgm:spPr>
        <a:solidFill>
          <a:srgbClr val="D5D5D5"/>
        </a:solidFill>
        <a:ln w="12700"/>
      </dgm:spPr>
      <dgm:t>
        <a:bodyPr/>
        <a:lstStyle/>
        <a:p>
          <a:r>
            <a:rPr lang="en-US"/>
            <a:t>More Epochs</a:t>
          </a:r>
        </a:p>
      </dgm:t>
    </dgm:pt>
    <dgm:pt modelId="{5AE40FCC-7755-E043-9AA7-75A897154F29}" type="parTrans" cxnId="{8802497C-9BB2-9B4D-95FA-75518E50D8B3}">
      <dgm:prSet/>
      <dgm:spPr/>
      <dgm:t>
        <a:bodyPr/>
        <a:lstStyle/>
        <a:p>
          <a:endParaRPr lang="en-US"/>
        </a:p>
      </dgm:t>
    </dgm:pt>
    <dgm:pt modelId="{25A90E26-FCCF-174A-9162-E3270CA9F41C}" type="sibTrans" cxnId="{8802497C-9BB2-9B4D-95FA-75518E50D8B3}">
      <dgm:prSet/>
      <dgm:spPr/>
      <dgm:t>
        <a:bodyPr/>
        <a:lstStyle/>
        <a:p>
          <a:endParaRPr lang="en-US"/>
        </a:p>
      </dgm:t>
    </dgm:pt>
    <dgm:pt modelId="{8E33786C-5288-844C-9E85-9F1174597C6C}">
      <dgm:prSet phldrT="[Text]"/>
      <dgm:spPr>
        <a:solidFill>
          <a:srgbClr val="D5D5D5"/>
        </a:solidFill>
        <a:ln w="12700"/>
      </dgm:spPr>
      <dgm:t>
        <a:bodyPr/>
        <a:lstStyle/>
        <a:p>
          <a:r>
            <a:rPr lang="en-US"/>
            <a:t>Early Stopping</a:t>
          </a:r>
        </a:p>
      </dgm:t>
    </dgm:pt>
    <dgm:pt modelId="{2208AA59-BB78-D143-9507-48EBC648E503}" type="parTrans" cxnId="{F3899365-8A7A-6F4F-B8B4-2F39B6FD8EE9}">
      <dgm:prSet/>
      <dgm:spPr/>
      <dgm:t>
        <a:bodyPr/>
        <a:lstStyle/>
        <a:p>
          <a:endParaRPr lang="en-US"/>
        </a:p>
      </dgm:t>
    </dgm:pt>
    <dgm:pt modelId="{BC82E9BE-759C-2A43-A566-B1EA37C80065}" type="sibTrans" cxnId="{F3899365-8A7A-6F4F-B8B4-2F39B6FD8EE9}">
      <dgm:prSet/>
      <dgm:spPr/>
      <dgm:t>
        <a:bodyPr/>
        <a:lstStyle/>
        <a:p>
          <a:endParaRPr lang="en-US"/>
        </a:p>
      </dgm:t>
    </dgm:pt>
    <dgm:pt modelId="{22E819D1-6F5E-E442-B1D0-0CA8184253F7}">
      <dgm:prSet phldrT="[Text]"/>
      <dgm:spPr>
        <a:solidFill>
          <a:srgbClr val="D5D5D5"/>
        </a:solidFill>
        <a:ln w="12700"/>
      </dgm:spPr>
      <dgm:t>
        <a:bodyPr/>
        <a:lstStyle/>
        <a:p>
          <a:r>
            <a:rPr lang="en-US"/>
            <a:t>Data Augmentation</a:t>
          </a:r>
        </a:p>
      </dgm:t>
    </dgm:pt>
    <dgm:pt modelId="{97383EDB-4208-914D-B6AC-4B64C57ADCFF}" type="parTrans" cxnId="{AA24C1DC-51A9-2044-9FC3-2372C6889113}">
      <dgm:prSet/>
      <dgm:spPr/>
      <dgm:t>
        <a:bodyPr/>
        <a:lstStyle/>
        <a:p>
          <a:endParaRPr lang="en-US"/>
        </a:p>
      </dgm:t>
    </dgm:pt>
    <dgm:pt modelId="{26FAE4BB-4862-BB41-928B-A1CF0A3C93D5}" type="sibTrans" cxnId="{AA24C1DC-51A9-2044-9FC3-2372C6889113}">
      <dgm:prSet/>
      <dgm:spPr/>
      <dgm:t>
        <a:bodyPr/>
        <a:lstStyle/>
        <a:p>
          <a:endParaRPr lang="en-US"/>
        </a:p>
      </dgm:t>
    </dgm:pt>
    <dgm:pt modelId="{5041762C-0FAA-5045-8BEB-CBE937486934}">
      <dgm:prSet phldrT="[Text]"/>
      <dgm:spPr>
        <a:ln w="12700">
          <a:prstDash val="sysDot"/>
        </a:ln>
      </dgm:spPr>
      <dgm:t>
        <a:bodyPr/>
        <a:lstStyle/>
        <a:p>
          <a:pPr algn="ctr"/>
          <a:r>
            <a:rPr lang="en-US"/>
            <a:t>Random Horizontal Flipping</a:t>
          </a:r>
        </a:p>
      </dgm:t>
    </dgm:pt>
    <dgm:pt modelId="{1F332150-248E-154B-B081-906899427A6E}" type="parTrans" cxnId="{A17A7555-AAEA-D64F-A690-EFBF2E8EA5BD}">
      <dgm:prSet/>
      <dgm:spPr>
        <a:ln w="12700"/>
      </dgm:spPr>
      <dgm:t>
        <a:bodyPr/>
        <a:lstStyle/>
        <a:p>
          <a:endParaRPr lang="en-US"/>
        </a:p>
      </dgm:t>
    </dgm:pt>
    <dgm:pt modelId="{ED18179C-0F31-F648-9730-A68C6A2E7E55}" type="sibTrans" cxnId="{A17A7555-AAEA-D64F-A690-EFBF2E8EA5BD}">
      <dgm:prSet/>
      <dgm:spPr/>
      <dgm:t>
        <a:bodyPr/>
        <a:lstStyle/>
        <a:p>
          <a:endParaRPr lang="en-US"/>
        </a:p>
      </dgm:t>
    </dgm:pt>
    <dgm:pt modelId="{AC8E7823-8A7E-2240-BBB7-84C766BDEB91}">
      <dgm:prSet phldrT="[Text]"/>
      <dgm:spPr>
        <a:ln w="12700">
          <a:prstDash val="sysDot"/>
        </a:ln>
      </dgm:spPr>
      <dgm:t>
        <a:bodyPr/>
        <a:lstStyle/>
        <a:p>
          <a:pPr algn="ctr"/>
          <a:r>
            <a:rPr lang="en-US"/>
            <a:t>Random Rotation</a:t>
          </a:r>
        </a:p>
      </dgm:t>
    </dgm:pt>
    <dgm:pt modelId="{74CFF98C-94BB-8641-9022-7E22E08D2469}" type="parTrans" cxnId="{3E4A5429-8BCA-944D-AB8D-720FA5999758}">
      <dgm:prSet/>
      <dgm:spPr>
        <a:ln w="12700"/>
      </dgm:spPr>
      <dgm:t>
        <a:bodyPr/>
        <a:lstStyle/>
        <a:p>
          <a:endParaRPr lang="en-US"/>
        </a:p>
      </dgm:t>
    </dgm:pt>
    <dgm:pt modelId="{615EEF69-52A3-1F40-BDCA-31FDC95C4760}" type="sibTrans" cxnId="{3E4A5429-8BCA-944D-AB8D-720FA5999758}">
      <dgm:prSet/>
      <dgm:spPr/>
      <dgm:t>
        <a:bodyPr/>
        <a:lstStyle/>
        <a:p>
          <a:endParaRPr lang="en-US"/>
        </a:p>
      </dgm:t>
    </dgm:pt>
    <dgm:pt modelId="{BB7FF6FE-797C-A44A-9D4C-CFDEEE968370}">
      <dgm:prSet phldrT="[Text]"/>
      <dgm:spPr>
        <a:ln w="12700">
          <a:prstDash val="sysDot"/>
        </a:ln>
      </dgm:spPr>
      <dgm:t>
        <a:bodyPr/>
        <a:lstStyle/>
        <a:p>
          <a:pPr algn="ctr"/>
          <a:r>
            <a:rPr lang="en-US"/>
            <a:t>Random Contrast</a:t>
          </a:r>
        </a:p>
      </dgm:t>
    </dgm:pt>
    <dgm:pt modelId="{3CE3F545-B057-374A-84F7-B2EB28713636}" type="parTrans" cxnId="{B11E9D09-882F-DE4A-A0DB-BD9AC54E36E0}">
      <dgm:prSet/>
      <dgm:spPr>
        <a:ln w="12700"/>
      </dgm:spPr>
      <dgm:t>
        <a:bodyPr/>
        <a:lstStyle/>
        <a:p>
          <a:endParaRPr lang="en-US"/>
        </a:p>
      </dgm:t>
    </dgm:pt>
    <dgm:pt modelId="{1659CE55-4891-D147-B81E-D28DB407D1A2}" type="sibTrans" cxnId="{B11E9D09-882F-DE4A-A0DB-BD9AC54E36E0}">
      <dgm:prSet/>
      <dgm:spPr/>
      <dgm:t>
        <a:bodyPr/>
        <a:lstStyle/>
        <a:p>
          <a:endParaRPr lang="en-US"/>
        </a:p>
      </dgm:t>
    </dgm:pt>
    <dgm:pt modelId="{7A4A313A-787E-D44E-9672-1ADC98137784}">
      <dgm:prSet phldrT="[Text]"/>
      <dgm:spPr>
        <a:ln w="12700">
          <a:prstDash val="sysDot"/>
        </a:ln>
      </dgm:spPr>
      <dgm:t>
        <a:bodyPr/>
        <a:lstStyle/>
        <a:p>
          <a:pPr algn="ctr"/>
          <a:r>
            <a:rPr lang="en-US"/>
            <a:t>Random Brightness</a:t>
          </a:r>
        </a:p>
      </dgm:t>
    </dgm:pt>
    <dgm:pt modelId="{561208C4-9533-2543-912A-CCB495E3ADDC}" type="parTrans" cxnId="{E7641AA6-C410-D741-BB3B-73156EDB9417}">
      <dgm:prSet/>
      <dgm:spPr>
        <a:ln w="12700"/>
      </dgm:spPr>
      <dgm:t>
        <a:bodyPr/>
        <a:lstStyle/>
        <a:p>
          <a:endParaRPr lang="en-US"/>
        </a:p>
      </dgm:t>
    </dgm:pt>
    <dgm:pt modelId="{E77B2878-3194-7341-B478-EF22FCF11484}" type="sibTrans" cxnId="{E7641AA6-C410-D741-BB3B-73156EDB9417}">
      <dgm:prSet/>
      <dgm:spPr/>
      <dgm:t>
        <a:bodyPr/>
        <a:lstStyle/>
        <a:p>
          <a:endParaRPr lang="en-US"/>
        </a:p>
      </dgm:t>
    </dgm:pt>
    <dgm:pt modelId="{DF0345FB-D31A-6C42-B0C2-A03A9B418B74}">
      <dgm:prSet phldrT="[Text]"/>
      <dgm:spPr>
        <a:ln w="12700">
          <a:prstDash val="sysDot"/>
        </a:ln>
      </dgm:spPr>
      <dgm:t>
        <a:bodyPr/>
        <a:lstStyle/>
        <a:p>
          <a:pPr algn="ctr"/>
          <a:r>
            <a:rPr lang="en-US"/>
            <a:t>Random Translation</a:t>
          </a:r>
        </a:p>
      </dgm:t>
    </dgm:pt>
    <dgm:pt modelId="{357E9776-9CAB-2944-B9E5-F706BCEBBCF8}" type="parTrans" cxnId="{E9B8FCF7-F332-2D4C-9EEF-15B53822B78F}">
      <dgm:prSet/>
      <dgm:spPr>
        <a:ln w="12700"/>
      </dgm:spPr>
      <dgm:t>
        <a:bodyPr/>
        <a:lstStyle/>
        <a:p>
          <a:endParaRPr lang="en-US"/>
        </a:p>
      </dgm:t>
    </dgm:pt>
    <dgm:pt modelId="{5EFB5E0A-DBBB-624C-A0B0-A9B342C578A9}" type="sibTrans" cxnId="{E9B8FCF7-F332-2D4C-9EEF-15B53822B78F}">
      <dgm:prSet/>
      <dgm:spPr/>
      <dgm:t>
        <a:bodyPr/>
        <a:lstStyle/>
        <a:p>
          <a:endParaRPr lang="en-US"/>
        </a:p>
      </dgm:t>
    </dgm:pt>
    <dgm:pt modelId="{1A4E3B01-8B28-D04D-BF84-EAB39B31CBB7}">
      <dgm:prSet phldrT="[Text]"/>
      <dgm:spPr>
        <a:ln w="12700">
          <a:prstDash val="sysDot"/>
        </a:ln>
      </dgm:spPr>
      <dgm:t>
        <a:bodyPr/>
        <a:lstStyle/>
        <a:p>
          <a:pPr algn="ctr"/>
          <a:r>
            <a:rPr lang="en-US"/>
            <a:t>Monitoring validation loss</a:t>
          </a:r>
        </a:p>
        <a:p>
          <a:pPr algn="ctr"/>
          <a:r>
            <a:rPr lang="en-US"/>
            <a:t> with patience = 3</a:t>
          </a:r>
        </a:p>
      </dgm:t>
    </dgm:pt>
    <dgm:pt modelId="{7A3E218D-3D08-0746-97E6-237F4F5CB815}" type="parTrans" cxnId="{25296D1B-686A-9A40-B16E-32DCA29ED994}">
      <dgm:prSet/>
      <dgm:spPr>
        <a:ln w="12700"/>
      </dgm:spPr>
      <dgm:t>
        <a:bodyPr/>
        <a:lstStyle/>
        <a:p>
          <a:endParaRPr lang="en-US"/>
        </a:p>
      </dgm:t>
    </dgm:pt>
    <dgm:pt modelId="{0C6021E1-200D-5B4B-AA17-733FEE1D745B}" type="sibTrans" cxnId="{25296D1B-686A-9A40-B16E-32DCA29ED994}">
      <dgm:prSet/>
      <dgm:spPr/>
      <dgm:t>
        <a:bodyPr/>
        <a:lstStyle/>
        <a:p>
          <a:endParaRPr lang="en-US"/>
        </a:p>
      </dgm:t>
    </dgm:pt>
    <dgm:pt modelId="{57A77E14-0104-CB4E-A025-C69028049923}">
      <dgm:prSet phldrT="[Text]"/>
      <dgm:spPr>
        <a:ln w="12700">
          <a:prstDash val="sysDot"/>
        </a:ln>
      </dgm:spPr>
      <dgm:t>
        <a:bodyPr/>
        <a:lstStyle/>
        <a:p>
          <a:pPr algn="ctr"/>
          <a:r>
            <a:rPr lang="en-US"/>
            <a:t>100 Epochs instead of only 10</a:t>
          </a:r>
        </a:p>
      </dgm:t>
    </dgm:pt>
    <dgm:pt modelId="{F753E6C5-16A1-EC4B-9327-EDE6FE299900}" type="parTrans" cxnId="{98B0EF7B-F542-E94D-9460-54CD58E04146}">
      <dgm:prSet/>
      <dgm:spPr>
        <a:ln w="12700"/>
      </dgm:spPr>
      <dgm:t>
        <a:bodyPr/>
        <a:lstStyle/>
        <a:p>
          <a:endParaRPr lang="en-US"/>
        </a:p>
      </dgm:t>
    </dgm:pt>
    <dgm:pt modelId="{F54481B6-CD36-094A-AF0D-EBD8B99677D9}" type="sibTrans" cxnId="{98B0EF7B-F542-E94D-9460-54CD58E04146}">
      <dgm:prSet/>
      <dgm:spPr/>
      <dgm:t>
        <a:bodyPr/>
        <a:lstStyle/>
        <a:p>
          <a:endParaRPr lang="en-US"/>
        </a:p>
      </dgm:t>
    </dgm:pt>
    <dgm:pt modelId="{BE89600E-7229-2241-A6CA-F9E3C89E8655}" type="pres">
      <dgm:prSet presAssocID="{2DAF4BBD-EFB7-9A48-8299-7DF046A95DAE}" presName="diagram" presStyleCnt="0">
        <dgm:presLayoutVars>
          <dgm:chPref val="1"/>
          <dgm:dir/>
          <dgm:animOne val="branch"/>
          <dgm:animLvl val="lvl"/>
          <dgm:resizeHandles val="exact"/>
        </dgm:presLayoutVars>
      </dgm:prSet>
      <dgm:spPr/>
    </dgm:pt>
    <dgm:pt modelId="{AEF36EE5-CDCF-364F-972F-73AA0BFA433E}" type="pres">
      <dgm:prSet presAssocID="{22E819D1-6F5E-E442-B1D0-0CA8184253F7}" presName="root1" presStyleCnt="0"/>
      <dgm:spPr/>
    </dgm:pt>
    <dgm:pt modelId="{9316FDD8-872F-EA44-BC31-9A613B4F3255}" type="pres">
      <dgm:prSet presAssocID="{22E819D1-6F5E-E442-B1D0-0CA8184253F7}" presName="LevelOneTextNode" presStyleLbl="node0" presStyleIdx="0" presStyleCnt="3">
        <dgm:presLayoutVars>
          <dgm:chPref val="3"/>
        </dgm:presLayoutVars>
      </dgm:prSet>
      <dgm:spPr/>
    </dgm:pt>
    <dgm:pt modelId="{8B49AF26-3242-DE4C-BB34-56F6BE523C23}" type="pres">
      <dgm:prSet presAssocID="{22E819D1-6F5E-E442-B1D0-0CA8184253F7}" presName="level2hierChild" presStyleCnt="0"/>
      <dgm:spPr/>
    </dgm:pt>
    <dgm:pt modelId="{6B26A4A9-C65E-B849-AA1F-82D89F129B6E}" type="pres">
      <dgm:prSet presAssocID="{1F332150-248E-154B-B081-906899427A6E}" presName="conn2-1" presStyleLbl="parChTrans1D2" presStyleIdx="0" presStyleCnt="7"/>
      <dgm:spPr/>
    </dgm:pt>
    <dgm:pt modelId="{1FA5D7C7-1018-294C-A438-815D40CDDAA7}" type="pres">
      <dgm:prSet presAssocID="{1F332150-248E-154B-B081-906899427A6E}" presName="connTx" presStyleLbl="parChTrans1D2" presStyleIdx="0" presStyleCnt="7"/>
      <dgm:spPr/>
    </dgm:pt>
    <dgm:pt modelId="{DFD41DF3-60A9-714A-B47C-CDE1708C5710}" type="pres">
      <dgm:prSet presAssocID="{5041762C-0FAA-5045-8BEB-CBE937486934}" presName="root2" presStyleCnt="0"/>
      <dgm:spPr/>
    </dgm:pt>
    <dgm:pt modelId="{A91BF052-F138-3147-A5C5-C502BE45B08F}" type="pres">
      <dgm:prSet presAssocID="{5041762C-0FAA-5045-8BEB-CBE937486934}" presName="LevelTwoTextNode" presStyleLbl="node2" presStyleIdx="0" presStyleCnt="7" custScaleX="207553">
        <dgm:presLayoutVars>
          <dgm:chPref val="3"/>
        </dgm:presLayoutVars>
      </dgm:prSet>
      <dgm:spPr/>
    </dgm:pt>
    <dgm:pt modelId="{D515D3D4-EBCD-E344-AAB6-DA4345B463EB}" type="pres">
      <dgm:prSet presAssocID="{5041762C-0FAA-5045-8BEB-CBE937486934}" presName="level3hierChild" presStyleCnt="0"/>
      <dgm:spPr/>
    </dgm:pt>
    <dgm:pt modelId="{C8E6C50F-C079-7745-9765-1B439824A3F9}" type="pres">
      <dgm:prSet presAssocID="{74CFF98C-94BB-8641-9022-7E22E08D2469}" presName="conn2-1" presStyleLbl="parChTrans1D2" presStyleIdx="1" presStyleCnt="7"/>
      <dgm:spPr/>
    </dgm:pt>
    <dgm:pt modelId="{3F1749A4-7DF3-E547-B6D0-3AA647C0FC04}" type="pres">
      <dgm:prSet presAssocID="{74CFF98C-94BB-8641-9022-7E22E08D2469}" presName="connTx" presStyleLbl="parChTrans1D2" presStyleIdx="1" presStyleCnt="7"/>
      <dgm:spPr/>
    </dgm:pt>
    <dgm:pt modelId="{78C6E632-0FF0-DD42-8C12-E0601EF89939}" type="pres">
      <dgm:prSet presAssocID="{AC8E7823-8A7E-2240-BBB7-84C766BDEB91}" presName="root2" presStyleCnt="0"/>
      <dgm:spPr/>
    </dgm:pt>
    <dgm:pt modelId="{80BDAAB5-E8DA-A24A-B2B3-2FE7DC97A2EE}" type="pres">
      <dgm:prSet presAssocID="{AC8E7823-8A7E-2240-BBB7-84C766BDEB91}" presName="LevelTwoTextNode" presStyleLbl="node2" presStyleIdx="1" presStyleCnt="7" custScaleX="207553">
        <dgm:presLayoutVars>
          <dgm:chPref val="3"/>
        </dgm:presLayoutVars>
      </dgm:prSet>
      <dgm:spPr/>
    </dgm:pt>
    <dgm:pt modelId="{964392E8-FB59-A84F-BEE1-142AA8B3A92F}" type="pres">
      <dgm:prSet presAssocID="{AC8E7823-8A7E-2240-BBB7-84C766BDEB91}" presName="level3hierChild" presStyleCnt="0"/>
      <dgm:spPr/>
    </dgm:pt>
    <dgm:pt modelId="{156175B4-C4FE-484F-B6B4-0630C84E9C24}" type="pres">
      <dgm:prSet presAssocID="{3CE3F545-B057-374A-84F7-B2EB28713636}" presName="conn2-1" presStyleLbl="parChTrans1D2" presStyleIdx="2" presStyleCnt="7"/>
      <dgm:spPr/>
    </dgm:pt>
    <dgm:pt modelId="{2AA2AABB-58C6-5949-B0DB-6D5C2A7CE1A7}" type="pres">
      <dgm:prSet presAssocID="{3CE3F545-B057-374A-84F7-B2EB28713636}" presName="connTx" presStyleLbl="parChTrans1D2" presStyleIdx="2" presStyleCnt="7"/>
      <dgm:spPr/>
    </dgm:pt>
    <dgm:pt modelId="{3FDC98D5-D2B1-D243-8A1A-EB584458C86D}" type="pres">
      <dgm:prSet presAssocID="{BB7FF6FE-797C-A44A-9D4C-CFDEEE968370}" presName="root2" presStyleCnt="0"/>
      <dgm:spPr/>
    </dgm:pt>
    <dgm:pt modelId="{86CFBC85-1771-7343-A37E-3353824A39E5}" type="pres">
      <dgm:prSet presAssocID="{BB7FF6FE-797C-A44A-9D4C-CFDEEE968370}" presName="LevelTwoTextNode" presStyleLbl="node2" presStyleIdx="2" presStyleCnt="7" custScaleX="207553">
        <dgm:presLayoutVars>
          <dgm:chPref val="3"/>
        </dgm:presLayoutVars>
      </dgm:prSet>
      <dgm:spPr/>
    </dgm:pt>
    <dgm:pt modelId="{B9985F90-E938-824D-A064-2A7311267E66}" type="pres">
      <dgm:prSet presAssocID="{BB7FF6FE-797C-A44A-9D4C-CFDEEE968370}" presName="level3hierChild" presStyleCnt="0"/>
      <dgm:spPr/>
    </dgm:pt>
    <dgm:pt modelId="{F33EFA89-C3CF-844D-B8F5-656013CE8860}" type="pres">
      <dgm:prSet presAssocID="{561208C4-9533-2543-912A-CCB495E3ADDC}" presName="conn2-1" presStyleLbl="parChTrans1D2" presStyleIdx="3" presStyleCnt="7"/>
      <dgm:spPr/>
    </dgm:pt>
    <dgm:pt modelId="{1B3013AB-06E2-D34E-8859-6598ED9B26E5}" type="pres">
      <dgm:prSet presAssocID="{561208C4-9533-2543-912A-CCB495E3ADDC}" presName="connTx" presStyleLbl="parChTrans1D2" presStyleIdx="3" presStyleCnt="7"/>
      <dgm:spPr/>
    </dgm:pt>
    <dgm:pt modelId="{BA61C7DA-3A51-AF44-953C-B1CFADAC2047}" type="pres">
      <dgm:prSet presAssocID="{7A4A313A-787E-D44E-9672-1ADC98137784}" presName="root2" presStyleCnt="0"/>
      <dgm:spPr/>
    </dgm:pt>
    <dgm:pt modelId="{6F3DD340-3A24-AC4E-B181-C736346881E5}" type="pres">
      <dgm:prSet presAssocID="{7A4A313A-787E-D44E-9672-1ADC98137784}" presName="LevelTwoTextNode" presStyleLbl="node2" presStyleIdx="3" presStyleCnt="7" custScaleX="207553">
        <dgm:presLayoutVars>
          <dgm:chPref val="3"/>
        </dgm:presLayoutVars>
      </dgm:prSet>
      <dgm:spPr/>
    </dgm:pt>
    <dgm:pt modelId="{4B1C90F7-7F92-814D-96B3-63C5EB649C3A}" type="pres">
      <dgm:prSet presAssocID="{7A4A313A-787E-D44E-9672-1ADC98137784}" presName="level3hierChild" presStyleCnt="0"/>
      <dgm:spPr/>
    </dgm:pt>
    <dgm:pt modelId="{87EBF2E3-4441-C44D-B465-DBEFDB3995B0}" type="pres">
      <dgm:prSet presAssocID="{357E9776-9CAB-2944-B9E5-F706BCEBBCF8}" presName="conn2-1" presStyleLbl="parChTrans1D2" presStyleIdx="4" presStyleCnt="7"/>
      <dgm:spPr/>
    </dgm:pt>
    <dgm:pt modelId="{05FB8D24-7AAF-5B4F-9921-5708F2B2594A}" type="pres">
      <dgm:prSet presAssocID="{357E9776-9CAB-2944-B9E5-F706BCEBBCF8}" presName="connTx" presStyleLbl="parChTrans1D2" presStyleIdx="4" presStyleCnt="7"/>
      <dgm:spPr/>
    </dgm:pt>
    <dgm:pt modelId="{C4E96CA2-A799-DB4E-A4CA-D6339208C72D}" type="pres">
      <dgm:prSet presAssocID="{DF0345FB-D31A-6C42-B0C2-A03A9B418B74}" presName="root2" presStyleCnt="0"/>
      <dgm:spPr/>
    </dgm:pt>
    <dgm:pt modelId="{06EF309D-A05E-8440-9447-8E0652C9938E}" type="pres">
      <dgm:prSet presAssocID="{DF0345FB-D31A-6C42-B0C2-A03A9B418B74}" presName="LevelTwoTextNode" presStyleLbl="node2" presStyleIdx="4" presStyleCnt="7" custScaleX="207553">
        <dgm:presLayoutVars>
          <dgm:chPref val="3"/>
        </dgm:presLayoutVars>
      </dgm:prSet>
      <dgm:spPr/>
    </dgm:pt>
    <dgm:pt modelId="{ACFEA204-12BF-2A42-A46F-6012E2C1868C}" type="pres">
      <dgm:prSet presAssocID="{DF0345FB-D31A-6C42-B0C2-A03A9B418B74}" presName="level3hierChild" presStyleCnt="0"/>
      <dgm:spPr/>
    </dgm:pt>
    <dgm:pt modelId="{C986173D-B6CA-2A48-9E93-11C63FD43536}" type="pres">
      <dgm:prSet presAssocID="{AE6D0EC3-E7A6-D045-8AB3-B0296302B3C8}" presName="root1" presStyleCnt="0"/>
      <dgm:spPr/>
    </dgm:pt>
    <dgm:pt modelId="{82151661-3278-AC41-97E0-24581590B11E}" type="pres">
      <dgm:prSet presAssocID="{AE6D0EC3-E7A6-D045-8AB3-B0296302B3C8}" presName="LevelOneTextNode" presStyleLbl="node0" presStyleIdx="1" presStyleCnt="3">
        <dgm:presLayoutVars>
          <dgm:chPref val="3"/>
        </dgm:presLayoutVars>
      </dgm:prSet>
      <dgm:spPr/>
    </dgm:pt>
    <dgm:pt modelId="{E0DB2F7E-6896-BE41-B081-AE60455179CB}" type="pres">
      <dgm:prSet presAssocID="{AE6D0EC3-E7A6-D045-8AB3-B0296302B3C8}" presName="level2hierChild" presStyleCnt="0"/>
      <dgm:spPr/>
    </dgm:pt>
    <dgm:pt modelId="{C1B782B6-8491-E448-9003-0B1725918558}" type="pres">
      <dgm:prSet presAssocID="{F753E6C5-16A1-EC4B-9327-EDE6FE299900}" presName="conn2-1" presStyleLbl="parChTrans1D2" presStyleIdx="5" presStyleCnt="7"/>
      <dgm:spPr/>
    </dgm:pt>
    <dgm:pt modelId="{64E5F9E2-5ED7-9B46-8B16-08129E7F6901}" type="pres">
      <dgm:prSet presAssocID="{F753E6C5-16A1-EC4B-9327-EDE6FE299900}" presName="connTx" presStyleLbl="parChTrans1D2" presStyleIdx="5" presStyleCnt="7"/>
      <dgm:spPr/>
    </dgm:pt>
    <dgm:pt modelId="{F5EC76F4-47EB-E746-9598-F9A0F1C1A32D}" type="pres">
      <dgm:prSet presAssocID="{57A77E14-0104-CB4E-A025-C69028049923}" presName="root2" presStyleCnt="0"/>
      <dgm:spPr/>
    </dgm:pt>
    <dgm:pt modelId="{FA2F917F-A778-6E40-A6A2-326312421619}" type="pres">
      <dgm:prSet presAssocID="{57A77E14-0104-CB4E-A025-C69028049923}" presName="LevelTwoTextNode" presStyleLbl="node2" presStyleIdx="5" presStyleCnt="7" custScaleX="207553">
        <dgm:presLayoutVars>
          <dgm:chPref val="3"/>
        </dgm:presLayoutVars>
      </dgm:prSet>
      <dgm:spPr/>
    </dgm:pt>
    <dgm:pt modelId="{E72CF8F4-F4C4-B54E-A8BD-FFC080FC3FB2}" type="pres">
      <dgm:prSet presAssocID="{57A77E14-0104-CB4E-A025-C69028049923}" presName="level3hierChild" presStyleCnt="0"/>
      <dgm:spPr/>
    </dgm:pt>
    <dgm:pt modelId="{4A0C4D72-A0E1-4B41-B9E2-8516946458AD}" type="pres">
      <dgm:prSet presAssocID="{8E33786C-5288-844C-9E85-9F1174597C6C}" presName="root1" presStyleCnt="0"/>
      <dgm:spPr/>
    </dgm:pt>
    <dgm:pt modelId="{973D98EC-B6C3-EE43-BF98-66E290A8CF80}" type="pres">
      <dgm:prSet presAssocID="{8E33786C-5288-844C-9E85-9F1174597C6C}" presName="LevelOneTextNode" presStyleLbl="node0" presStyleIdx="2" presStyleCnt="3">
        <dgm:presLayoutVars>
          <dgm:chPref val="3"/>
        </dgm:presLayoutVars>
      </dgm:prSet>
      <dgm:spPr/>
    </dgm:pt>
    <dgm:pt modelId="{1FEE0603-5ED6-9347-81FE-E56668B63256}" type="pres">
      <dgm:prSet presAssocID="{8E33786C-5288-844C-9E85-9F1174597C6C}" presName="level2hierChild" presStyleCnt="0"/>
      <dgm:spPr/>
    </dgm:pt>
    <dgm:pt modelId="{30CA4377-8D46-3B40-9738-1063EC96EC0D}" type="pres">
      <dgm:prSet presAssocID="{7A3E218D-3D08-0746-97E6-237F4F5CB815}" presName="conn2-1" presStyleLbl="parChTrans1D2" presStyleIdx="6" presStyleCnt="7"/>
      <dgm:spPr/>
    </dgm:pt>
    <dgm:pt modelId="{2F6569F0-D6B7-5D40-AAE8-85C23CA6F927}" type="pres">
      <dgm:prSet presAssocID="{7A3E218D-3D08-0746-97E6-237F4F5CB815}" presName="connTx" presStyleLbl="parChTrans1D2" presStyleIdx="6" presStyleCnt="7"/>
      <dgm:spPr/>
    </dgm:pt>
    <dgm:pt modelId="{BAD87828-6BB2-7C47-ACF7-1D9857AE7FF8}" type="pres">
      <dgm:prSet presAssocID="{1A4E3B01-8B28-D04D-BF84-EAB39B31CBB7}" presName="root2" presStyleCnt="0"/>
      <dgm:spPr/>
    </dgm:pt>
    <dgm:pt modelId="{05929E7C-CD3F-7640-8C66-E284486EE659}" type="pres">
      <dgm:prSet presAssocID="{1A4E3B01-8B28-D04D-BF84-EAB39B31CBB7}" presName="LevelTwoTextNode" presStyleLbl="node2" presStyleIdx="6" presStyleCnt="7" custScaleX="207553">
        <dgm:presLayoutVars>
          <dgm:chPref val="3"/>
        </dgm:presLayoutVars>
      </dgm:prSet>
      <dgm:spPr/>
    </dgm:pt>
    <dgm:pt modelId="{1CC5488A-23A0-634E-A16B-69D3EF8A9375}" type="pres">
      <dgm:prSet presAssocID="{1A4E3B01-8B28-D04D-BF84-EAB39B31CBB7}" presName="level3hierChild" presStyleCnt="0"/>
      <dgm:spPr/>
    </dgm:pt>
  </dgm:ptLst>
  <dgm:cxnLst>
    <dgm:cxn modelId="{B4A70A01-3FB2-0048-A4B4-0A8A51626E26}" type="presOf" srcId="{AC8E7823-8A7E-2240-BBB7-84C766BDEB91}" destId="{80BDAAB5-E8DA-A24A-B2B3-2FE7DC97A2EE}" srcOrd="0" destOrd="0" presId="urn:microsoft.com/office/officeart/2005/8/layout/hierarchy2"/>
    <dgm:cxn modelId="{DA608A01-3527-ED49-8BFD-D28BDC83E191}" type="presOf" srcId="{3CE3F545-B057-374A-84F7-B2EB28713636}" destId="{156175B4-C4FE-484F-B6B4-0630C84E9C24}" srcOrd="0" destOrd="0" presId="urn:microsoft.com/office/officeart/2005/8/layout/hierarchy2"/>
    <dgm:cxn modelId="{9C5A8008-B6CE-2E43-BDE2-A4238BE42DDF}" type="presOf" srcId="{1F332150-248E-154B-B081-906899427A6E}" destId="{1FA5D7C7-1018-294C-A438-815D40CDDAA7}" srcOrd="1" destOrd="0" presId="urn:microsoft.com/office/officeart/2005/8/layout/hierarchy2"/>
    <dgm:cxn modelId="{B11E9D09-882F-DE4A-A0DB-BD9AC54E36E0}" srcId="{22E819D1-6F5E-E442-B1D0-0CA8184253F7}" destId="{BB7FF6FE-797C-A44A-9D4C-CFDEEE968370}" srcOrd="2" destOrd="0" parTransId="{3CE3F545-B057-374A-84F7-B2EB28713636}" sibTransId="{1659CE55-4891-D147-B81E-D28DB407D1A2}"/>
    <dgm:cxn modelId="{6279AF0B-A0A5-1544-A645-EC41042E91EC}" type="presOf" srcId="{7A3E218D-3D08-0746-97E6-237F4F5CB815}" destId="{30CA4377-8D46-3B40-9738-1063EC96EC0D}" srcOrd="0" destOrd="0" presId="urn:microsoft.com/office/officeart/2005/8/layout/hierarchy2"/>
    <dgm:cxn modelId="{AC4B6112-98FD-A94B-83B0-C01E5CDAE7B5}" type="presOf" srcId="{8E33786C-5288-844C-9E85-9F1174597C6C}" destId="{973D98EC-B6C3-EE43-BF98-66E290A8CF80}" srcOrd="0" destOrd="0" presId="urn:microsoft.com/office/officeart/2005/8/layout/hierarchy2"/>
    <dgm:cxn modelId="{25296D1B-686A-9A40-B16E-32DCA29ED994}" srcId="{8E33786C-5288-844C-9E85-9F1174597C6C}" destId="{1A4E3B01-8B28-D04D-BF84-EAB39B31CBB7}" srcOrd="0" destOrd="0" parTransId="{7A3E218D-3D08-0746-97E6-237F4F5CB815}" sibTransId="{0C6021E1-200D-5B4B-AA17-733FEE1D745B}"/>
    <dgm:cxn modelId="{BAC2581F-AF8A-254E-B4B3-37106221DA59}" type="presOf" srcId="{74CFF98C-94BB-8641-9022-7E22E08D2469}" destId="{C8E6C50F-C079-7745-9765-1B439824A3F9}" srcOrd="0" destOrd="0" presId="urn:microsoft.com/office/officeart/2005/8/layout/hierarchy2"/>
    <dgm:cxn modelId="{9D186424-50AF-0241-A857-5D5A5FDDC727}" type="presOf" srcId="{357E9776-9CAB-2944-B9E5-F706BCEBBCF8}" destId="{05FB8D24-7AAF-5B4F-9921-5708F2B2594A}" srcOrd="1" destOrd="0" presId="urn:microsoft.com/office/officeart/2005/8/layout/hierarchy2"/>
    <dgm:cxn modelId="{3E4A5429-8BCA-944D-AB8D-720FA5999758}" srcId="{22E819D1-6F5E-E442-B1D0-0CA8184253F7}" destId="{AC8E7823-8A7E-2240-BBB7-84C766BDEB91}" srcOrd="1" destOrd="0" parTransId="{74CFF98C-94BB-8641-9022-7E22E08D2469}" sibTransId="{615EEF69-52A3-1F40-BDCA-31FDC95C4760}"/>
    <dgm:cxn modelId="{284E112A-A311-9E41-B2DD-DD798FE15A49}" type="presOf" srcId="{2DAF4BBD-EFB7-9A48-8299-7DF046A95DAE}" destId="{BE89600E-7229-2241-A6CA-F9E3C89E8655}" srcOrd="0" destOrd="0" presId="urn:microsoft.com/office/officeart/2005/8/layout/hierarchy2"/>
    <dgm:cxn modelId="{670C7E3D-2A29-9B4E-B456-027999FBE1C1}" type="presOf" srcId="{57A77E14-0104-CB4E-A025-C69028049923}" destId="{FA2F917F-A778-6E40-A6A2-326312421619}" srcOrd="0" destOrd="0" presId="urn:microsoft.com/office/officeart/2005/8/layout/hierarchy2"/>
    <dgm:cxn modelId="{AB20B340-90D4-194E-9659-E36CE3DC2FD5}" type="presOf" srcId="{357E9776-9CAB-2944-B9E5-F706BCEBBCF8}" destId="{87EBF2E3-4441-C44D-B465-DBEFDB3995B0}" srcOrd="0" destOrd="0" presId="urn:microsoft.com/office/officeart/2005/8/layout/hierarchy2"/>
    <dgm:cxn modelId="{6B9C0043-6C79-D74C-982D-AA4E5644D5DF}" type="presOf" srcId="{7A3E218D-3D08-0746-97E6-237F4F5CB815}" destId="{2F6569F0-D6B7-5D40-AAE8-85C23CA6F927}" srcOrd="1" destOrd="0" presId="urn:microsoft.com/office/officeart/2005/8/layout/hierarchy2"/>
    <dgm:cxn modelId="{F3899365-8A7A-6F4F-B8B4-2F39B6FD8EE9}" srcId="{2DAF4BBD-EFB7-9A48-8299-7DF046A95DAE}" destId="{8E33786C-5288-844C-9E85-9F1174597C6C}" srcOrd="2" destOrd="0" parTransId="{2208AA59-BB78-D143-9507-48EBC648E503}" sibTransId="{BC82E9BE-759C-2A43-A566-B1EA37C80065}"/>
    <dgm:cxn modelId="{065CD26A-DBBB-D640-ADC4-1AA45CADCE8A}" type="presOf" srcId="{F753E6C5-16A1-EC4B-9327-EDE6FE299900}" destId="{64E5F9E2-5ED7-9B46-8B16-08129E7F6901}" srcOrd="1" destOrd="0" presId="urn:microsoft.com/office/officeart/2005/8/layout/hierarchy2"/>
    <dgm:cxn modelId="{9492DC6E-06E8-8E4D-A4B1-858F110E213E}" type="presOf" srcId="{1F332150-248E-154B-B081-906899427A6E}" destId="{6B26A4A9-C65E-B849-AA1F-82D89F129B6E}" srcOrd="0" destOrd="0" presId="urn:microsoft.com/office/officeart/2005/8/layout/hierarchy2"/>
    <dgm:cxn modelId="{A17A7555-AAEA-D64F-A690-EFBF2E8EA5BD}" srcId="{22E819D1-6F5E-E442-B1D0-0CA8184253F7}" destId="{5041762C-0FAA-5045-8BEB-CBE937486934}" srcOrd="0" destOrd="0" parTransId="{1F332150-248E-154B-B081-906899427A6E}" sibTransId="{ED18179C-0F31-F648-9730-A68C6A2E7E55}"/>
    <dgm:cxn modelId="{98B0EF7B-F542-E94D-9460-54CD58E04146}" srcId="{AE6D0EC3-E7A6-D045-8AB3-B0296302B3C8}" destId="{57A77E14-0104-CB4E-A025-C69028049923}" srcOrd="0" destOrd="0" parTransId="{F753E6C5-16A1-EC4B-9327-EDE6FE299900}" sibTransId="{F54481B6-CD36-094A-AF0D-EBD8B99677D9}"/>
    <dgm:cxn modelId="{8802497C-9BB2-9B4D-95FA-75518E50D8B3}" srcId="{2DAF4BBD-EFB7-9A48-8299-7DF046A95DAE}" destId="{AE6D0EC3-E7A6-D045-8AB3-B0296302B3C8}" srcOrd="1" destOrd="0" parTransId="{5AE40FCC-7755-E043-9AA7-75A897154F29}" sibTransId="{25A90E26-FCCF-174A-9162-E3270CA9F41C}"/>
    <dgm:cxn modelId="{3585897F-BF4B-AC46-859A-2491D9D48854}" type="presOf" srcId="{F753E6C5-16A1-EC4B-9327-EDE6FE299900}" destId="{C1B782B6-8491-E448-9003-0B1725918558}" srcOrd="0" destOrd="0" presId="urn:microsoft.com/office/officeart/2005/8/layout/hierarchy2"/>
    <dgm:cxn modelId="{1836B581-01FE-4B42-8843-68D4C7B50521}" type="presOf" srcId="{DF0345FB-D31A-6C42-B0C2-A03A9B418B74}" destId="{06EF309D-A05E-8440-9447-8E0652C9938E}" srcOrd="0" destOrd="0" presId="urn:microsoft.com/office/officeart/2005/8/layout/hierarchy2"/>
    <dgm:cxn modelId="{A660A486-4AD8-6642-8D29-CD8E83881429}" type="presOf" srcId="{561208C4-9533-2543-912A-CCB495E3ADDC}" destId="{1B3013AB-06E2-D34E-8859-6598ED9B26E5}" srcOrd="1" destOrd="0" presId="urn:microsoft.com/office/officeart/2005/8/layout/hierarchy2"/>
    <dgm:cxn modelId="{9FB9E388-D340-5C4C-9F8D-C7F869D3976F}" type="presOf" srcId="{1A4E3B01-8B28-D04D-BF84-EAB39B31CBB7}" destId="{05929E7C-CD3F-7640-8C66-E284486EE659}" srcOrd="0" destOrd="0" presId="urn:microsoft.com/office/officeart/2005/8/layout/hierarchy2"/>
    <dgm:cxn modelId="{1680C08D-17C5-7E47-A9BC-5BDABE834D0A}" type="presOf" srcId="{74CFF98C-94BB-8641-9022-7E22E08D2469}" destId="{3F1749A4-7DF3-E547-B6D0-3AA647C0FC04}" srcOrd="1" destOrd="0" presId="urn:microsoft.com/office/officeart/2005/8/layout/hierarchy2"/>
    <dgm:cxn modelId="{96D9E18E-ACEC-734D-9ADE-66B2DC4B6FD7}" type="presOf" srcId="{561208C4-9533-2543-912A-CCB495E3ADDC}" destId="{F33EFA89-C3CF-844D-B8F5-656013CE8860}" srcOrd="0" destOrd="0" presId="urn:microsoft.com/office/officeart/2005/8/layout/hierarchy2"/>
    <dgm:cxn modelId="{97F3F69F-74FE-D64B-9743-DE1917D40431}" type="presOf" srcId="{3CE3F545-B057-374A-84F7-B2EB28713636}" destId="{2AA2AABB-58C6-5949-B0DB-6D5C2A7CE1A7}" srcOrd="1" destOrd="0" presId="urn:microsoft.com/office/officeart/2005/8/layout/hierarchy2"/>
    <dgm:cxn modelId="{AED5D1A2-F2E5-6245-BB8D-18D6C07AB948}" type="presOf" srcId="{7A4A313A-787E-D44E-9672-1ADC98137784}" destId="{6F3DD340-3A24-AC4E-B181-C736346881E5}" srcOrd="0" destOrd="0" presId="urn:microsoft.com/office/officeart/2005/8/layout/hierarchy2"/>
    <dgm:cxn modelId="{E7641AA6-C410-D741-BB3B-73156EDB9417}" srcId="{22E819D1-6F5E-E442-B1D0-0CA8184253F7}" destId="{7A4A313A-787E-D44E-9672-1ADC98137784}" srcOrd="3" destOrd="0" parTransId="{561208C4-9533-2543-912A-CCB495E3ADDC}" sibTransId="{E77B2878-3194-7341-B478-EF22FCF11484}"/>
    <dgm:cxn modelId="{E5BDD6B3-92BF-3743-944D-79F9567156BB}" type="presOf" srcId="{BB7FF6FE-797C-A44A-9D4C-CFDEEE968370}" destId="{86CFBC85-1771-7343-A37E-3353824A39E5}" srcOrd="0" destOrd="0" presId="urn:microsoft.com/office/officeart/2005/8/layout/hierarchy2"/>
    <dgm:cxn modelId="{5D8ED4BC-3361-0144-A78C-4CA4E68A8AA9}" type="presOf" srcId="{5041762C-0FAA-5045-8BEB-CBE937486934}" destId="{A91BF052-F138-3147-A5C5-C502BE45B08F}" srcOrd="0" destOrd="0" presId="urn:microsoft.com/office/officeart/2005/8/layout/hierarchy2"/>
    <dgm:cxn modelId="{AA24C1DC-51A9-2044-9FC3-2372C6889113}" srcId="{2DAF4BBD-EFB7-9A48-8299-7DF046A95DAE}" destId="{22E819D1-6F5E-E442-B1D0-0CA8184253F7}" srcOrd="0" destOrd="0" parTransId="{97383EDB-4208-914D-B6AC-4B64C57ADCFF}" sibTransId="{26FAE4BB-4862-BB41-928B-A1CF0A3C93D5}"/>
    <dgm:cxn modelId="{2A420BEF-5BA8-4145-9962-386375FFB719}" type="presOf" srcId="{22E819D1-6F5E-E442-B1D0-0CA8184253F7}" destId="{9316FDD8-872F-EA44-BC31-9A613B4F3255}" srcOrd="0" destOrd="0" presId="urn:microsoft.com/office/officeart/2005/8/layout/hierarchy2"/>
    <dgm:cxn modelId="{E9B8FCF7-F332-2D4C-9EEF-15B53822B78F}" srcId="{22E819D1-6F5E-E442-B1D0-0CA8184253F7}" destId="{DF0345FB-D31A-6C42-B0C2-A03A9B418B74}" srcOrd="4" destOrd="0" parTransId="{357E9776-9CAB-2944-B9E5-F706BCEBBCF8}" sibTransId="{5EFB5E0A-DBBB-624C-A0B0-A9B342C578A9}"/>
    <dgm:cxn modelId="{BCAC6CF8-EB50-0047-8A1D-1BC9C3EB3AB4}" type="presOf" srcId="{AE6D0EC3-E7A6-D045-8AB3-B0296302B3C8}" destId="{82151661-3278-AC41-97E0-24581590B11E}" srcOrd="0" destOrd="0" presId="urn:microsoft.com/office/officeart/2005/8/layout/hierarchy2"/>
    <dgm:cxn modelId="{53043A9B-4D2B-164E-9A33-0E951D96675B}" type="presParOf" srcId="{BE89600E-7229-2241-A6CA-F9E3C89E8655}" destId="{AEF36EE5-CDCF-364F-972F-73AA0BFA433E}" srcOrd="0" destOrd="0" presId="urn:microsoft.com/office/officeart/2005/8/layout/hierarchy2"/>
    <dgm:cxn modelId="{9232F4F7-C0D3-BE4A-A118-00C14A9CC9B6}" type="presParOf" srcId="{AEF36EE5-CDCF-364F-972F-73AA0BFA433E}" destId="{9316FDD8-872F-EA44-BC31-9A613B4F3255}" srcOrd="0" destOrd="0" presId="urn:microsoft.com/office/officeart/2005/8/layout/hierarchy2"/>
    <dgm:cxn modelId="{12532BF5-13EE-4D41-B85F-1A8F36B6402D}" type="presParOf" srcId="{AEF36EE5-CDCF-364F-972F-73AA0BFA433E}" destId="{8B49AF26-3242-DE4C-BB34-56F6BE523C23}" srcOrd="1" destOrd="0" presId="urn:microsoft.com/office/officeart/2005/8/layout/hierarchy2"/>
    <dgm:cxn modelId="{6E6D7C93-BB71-424E-A183-0200B131CF84}" type="presParOf" srcId="{8B49AF26-3242-DE4C-BB34-56F6BE523C23}" destId="{6B26A4A9-C65E-B849-AA1F-82D89F129B6E}" srcOrd="0" destOrd="0" presId="urn:microsoft.com/office/officeart/2005/8/layout/hierarchy2"/>
    <dgm:cxn modelId="{6630F114-B190-D54A-B200-1B433DA27CD7}" type="presParOf" srcId="{6B26A4A9-C65E-B849-AA1F-82D89F129B6E}" destId="{1FA5D7C7-1018-294C-A438-815D40CDDAA7}" srcOrd="0" destOrd="0" presId="urn:microsoft.com/office/officeart/2005/8/layout/hierarchy2"/>
    <dgm:cxn modelId="{5BC33D71-3D4C-564A-AD5E-CDB27DEE044F}" type="presParOf" srcId="{8B49AF26-3242-DE4C-BB34-56F6BE523C23}" destId="{DFD41DF3-60A9-714A-B47C-CDE1708C5710}" srcOrd="1" destOrd="0" presId="urn:microsoft.com/office/officeart/2005/8/layout/hierarchy2"/>
    <dgm:cxn modelId="{C31F74EE-F2B2-354B-AFB5-0DABE026BE73}" type="presParOf" srcId="{DFD41DF3-60A9-714A-B47C-CDE1708C5710}" destId="{A91BF052-F138-3147-A5C5-C502BE45B08F}" srcOrd="0" destOrd="0" presId="urn:microsoft.com/office/officeart/2005/8/layout/hierarchy2"/>
    <dgm:cxn modelId="{7A02C0B9-F88C-884E-855B-CBF01880FCD5}" type="presParOf" srcId="{DFD41DF3-60A9-714A-B47C-CDE1708C5710}" destId="{D515D3D4-EBCD-E344-AAB6-DA4345B463EB}" srcOrd="1" destOrd="0" presId="urn:microsoft.com/office/officeart/2005/8/layout/hierarchy2"/>
    <dgm:cxn modelId="{52E6836F-2E7D-0146-AA92-27C1CE2CE49B}" type="presParOf" srcId="{8B49AF26-3242-DE4C-BB34-56F6BE523C23}" destId="{C8E6C50F-C079-7745-9765-1B439824A3F9}" srcOrd="2" destOrd="0" presId="urn:microsoft.com/office/officeart/2005/8/layout/hierarchy2"/>
    <dgm:cxn modelId="{CDB77088-2AA6-524D-A452-D419465D848C}" type="presParOf" srcId="{C8E6C50F-C079-7745-9765-1B439824A3F9}" destId="{3F1749A4-7DF3-E547-B6D0-3AA647C0FC04}" srcOrd="0" destOrd="0" presId="urn:microsoft.com/office/officeart/2005/8/layout/hierarchy2"/>
    <dgm:cxn modelId="{824E7497-D55A-CD4F-8226-5D794A495D1E}" type="presParOf" srcId="{8B49AF26-3242-DE4C-BB34-56F6BE523C23}" destId="{78C6E632-0FF0-DD42-8C12-E0601EF89939}" srcOrd="3" destOrd="0" presId="urn:microsoft.com/office/officeart/2005/8/layout/hierarchy2"/>
    <dgm:cxn modelId="{47279701-6D43-144D-9775-931038C98EC5}" type="presParOf" srcId="{78C6E632-0FF0-DD42-8C12-E0601EF89939}" destId="{80BDAAB5-E8DA-A24A-B2B3-2FE7DC97A2EE}" srcOrd="0" destOrd="0" presId="urn:microsoft.com/office/officeart/2005/8/layout/hierarchy2"/>
    <dgm:cxn modelId="{85810103-015A-974D-B435-933619CF662D}" type="presParOf" srcId="{78C6E632-0FF0-DD42-8C12-E0601EF89939}" destId="{964392E8-FB59-A84F-BEE1-142AA8B3A92F}" srcOrd="1" destOrd="0" presId="urn:microsoft.com/office/officeart/2005/8/layout/hierarchy2"/>
    <dgm:cxn modelId="{58CE4DDD-A84B-7843-A744-6C13B108E706}" type="presParOf" srcId="{8B49AF26-3242-DE4C-BB34-56F6BE523C23}" destId="{156175B4-C4FE-484F-B6B4-0630C84E9C24}" srcOrd="4" destOrd="0" presId="urn:microsoft.com/office/officeart/2005/8/layout/hierarchy2"/>
    <dgm:cxn modelId="{C42ABE89-94A7-2C48-9F49-FC6B83AFFACF}" type="presParOf" srcId="{156175B4-C4FE-484F-B6B4-0630C84E9C24}" destId="{2AA2AABB-58C6-5949-B0DB-6D5C2A7CE1A7}" srcOrd="0" destOrd="0" presId="urn:microsoft.com/office/officeart/2005/8/layout/hierarchy2"/>
    <dgm:cxn modelId="{7745E0C6-5F98-3941-B2F0-B46DB85FC0BC}" type="presParOf" srcId="{8B49AF26-3242-DE4C-BB34-56F6BE523C23}" destId="{3FDC98D5-D2B1-D243-8A1A-EB584458C86D}" srcOrd="5" destOrd="0" presId="urn:microsoft.com/office/officeart/2005/8/layout/hierarchy2"/>
    <dgm:cxn modelId="{2A406CFE-95FB-B148-875A-162BEA9E0EF7}" type="presParOf" srcId="{3FDC98D5-D2B1-D243-8A1A-EB584458C86D}" destId="{86CFBC85-1771-7343-A37E-3353824A39E5}" srcOrd="0" destOrd="0" presId="urn:microsoft.com/office/officeart/2005/8/layout/hierarchy2"/>
    <dgm:cxn modelId="{982B92BE-A692-464C-A701-077D399E2343}" type="presParOf" srcId="{3FDC98D5-D2B1-D243-8A1A-EB584458C86D}" destId="{B9985F90-E938-824D-A064-2A7311267E66}" srcOrd="1" destOrd="0" presId="urn:microsoft.com/office/officeart/2005/8/layout/hierarchy2"/>
    <dgm:cxn modelId="{BE74C125-1D41-3340-876B-C8B115CA3108}" type="presParOf" srcId="{8B49AF26-3242-DE4C-BB34-56F6BE523C23}" destId="{F33EFA89-C3CF-844D-B8F5-656013CE8860}" srcOrd="6" destOrd="0" presId="urn:microsoft.com/office/officeart/2005/8/layout/hierarchy2"/>
    <dgm:cxn modelId="{AA6A320F-D257-9F48-A4E8-F8F508D50DA6}" type="presParOf" srcId="{F33EFA89-C3CF-844D-B8F5-656013CE8860}" destId="{1B3013AB-06E2-D34E-8859-6598ED9B26E5}" srcOrd="0" destOrd="0" presId="urn:microsoft.com/office/officeart/2005/8/layout/hierarchy2"/>
    <dgm:cxn modelId="{01DC536B-D4DF-D149-ADED-FA635AE23A03}" type="presParOf" srcId="{8B49AF26-3242-DE4C-BB34-56F6BE523C23}" destId="{BA61C7DA-3A51-AF44-953C-B1CFADAC2047}" srcOrd="7" destOrd="0" presId="urn:microsoft.com/office/officeart/2005/8/layout/hierarchy2"/>
    <dgm:cxn modelId="{DB089D09-5792-AB42-9812-6E42FBED8A40}" type="presParOf" srcId="{BA61C7DA-3A51-AF44-953C-B1CFADAC2047}" destId="{6F3DD340-3A24-AC4E-B181-C736346881E5}" srcOrd="0" destOrd="0" presId="urn:microsoft.com/office/officeart/2005/8/layout/hierarchy2"/>
    <dgm:cxn modelId="{9C0D08FE-D783-9B4E-8E8E-F03C61B8C859}" type="presParOf" srcId="{BA61C7DA-3A51-AF44-953C-B1CFADAC2047}" destId="{4B1C90F7-7F92-814D-96B3-63C5EB649C3A}" srcOrd="1" destOrd="0" presId="urn:microsoft.com/office/officeart/2005/8/layout/hierarchy2"/>
    <dgm:cxn modelId="{5AD2193C-65AE-CC49-B1E3-7C4A3022A170}" type="presParOf" srcId="{8B49AF26-3242-DE4C-BB34-56F6BE523C23}" destId="{87EBF2E3-4441-C44D-B465-DBEFDB3995B0}" srcOrd="8" destOrd="0" presId="urn:microsoft.com/office/officeart/2005/8/layout/hierarchy2"/>
    <dgm:cxn modelId="{EE866594-22E0-9940-BD2B-A0A0D11219CF}" type="presParOf" srcId="{87EBF2E3-4441-C44D-B465-DBEFDB3995B0}" destId="{05FB8D24-7AAF-5B4F-9921-5708F2B2594A}" srcOrd="0" destOrd="0" presId="urn:microsoft.com/office/officeart/2005/8/layout/hierarchy2"/>
    <dgm:cxn modelId="{F52E68A7-EFC2-A94C-9C72-F0437A1E9255}" type="presParOf" srcId="{8B49AF26-3242-DE4C-BB34-56F6BE523C23}" destId="{C4E96CA2-A799-DB4E-A4CA-D6339208C72D}" srcOrd="9" destOrd="0" presId="urn:microsoft.com/office/officeart/2005/8/layout/hierarchy2"/>
    <dgm:cxn modelId="{C5657E32-E04C-0340-82A9-4B0A86C67B9A}" type="presParOf" srcId="{C4E96CA2-A799-DB4E-A4CA-D6339208C72D}" destId="{06EF309D-A05E-8440-9447-8E0652C9938E}" srcOrd="0" destOrd="0" presId="urn:microsoft.com/office/officeart/2005/8/layout/hierarchy2"/>
    <dgm:cxn modelId="{39D06DBE-F94E-6A4B-9F1E-2FB5CEED7C8B}" type="presParOf" srcId="{C4E96CA2-A799-DB4E-A4CA-D6339208C72D}" destId="{ACFEA204-12BF-2A42-A46F-6012E2C1868C}" srcOrd="1" destOrd="0" presId="urn:microsoft.com/office/officeart/2005/8/layout/hierarchy2"/>
    <dgm:cxn modelId="{CB8F3EBC-A999-4E46-BE75-87EBB68F4BC1}" type="presParOf" srcId="{BE89600E-7229-2241-A6CA-F9E3C89E8655}" destId="{C986173D-B6CA-2A48-9E93-11C63FD43536}" srcOrd="1" destOrd="0" presId="urn:microsoft.com/office/officeart/2005/8/layout/hierarchy2"/>
    <dgm:cxn modelId="{BF55FC2A-E8F5-9246-BE52-5B7081AFAAEC}" type="presParOf" srcId="{C986173D-B6CA-2A48-9E93-11C63FD43536}" destId="{82151661-3278-AC41-97E0-24581590B11E}" srcOrd="0" destOrd="0" presId="urn:microsoft.com/office/officeart/2005/8/layout/hierarchy2"/>
    <dgm:cxn modelId="{B04FB664-D6A8-9545-B024-50549B303045}" type="presParOf" srcId="{C986173D-B6CA-2A48-9E93-11C63FD43536}" destId="{E0DB2F7E-6896-BE41-B081-AE60455179CB}" srcOrd="1" destOrd="0" presId="urn:microsoft.com/office/officeart/2005/8/layout/hierarchy2"/>
    <dgm:cxn modelId="{8A8A5ECE-432D-E642-8CF7-DB1F2B09E5D7}" type="presParOf" srcId="{E0DB2F7E-6896-BE41-B081-AE60455179CB}" destId="{C1B782B6-8491-E448-9003-0B1725918558}" srcOrd="0" destOrd="0" presId="urn:microsoft.com/office/officeart/2005/8/layout/hierarchy2"/>
    <dgm:cxn modelId="{33C4729B-5550-6449-A8D4-E73ED85AA4EB}" type="presParOf" srcId="{C1B782B6-8491-E448-9003-0B1725918558}" destId="{64E5F9E2-5ED7-9B46-8B16-08129E7F6901}" srcOrd="0" destOrd="0" presId="urn:microsoft.com/office/officeart/2005/8/layout/hierarchy2"/>
    <dgm:cxn modelId="{E9EC1A7E-0798-894D-BD24-94AFA913A59A}" type="presParOf" srcId="{E0DB2F7E-6896-BE41-B081-AE60455179CB}" destId="{F5EC76F4-47EB-E746-9598-F9A0F1C1A32D}" srcOrd="1" destOrd="0" presId="urn:microsoft.com/office/officeart/2005/8/layout/hierarchy2"/>
    <dgm:cxn modelId="{BF1A8EA3-7734-F242-9782-B5F52A8FF145}" type="presParOf" srcId="{F5EC76F4-47EB-E746-9598-F9A0F1C1A32D}" destId="{FA2F917F-A778-6E40-A6A2-326312421619}" srcOrd="0" destOrd="0" presId="urn:microsoft.com/office/officeart/2005/8/layout/hierarchy2"/>
    <dgm:cxn modelId="{A8181137-61C1-5A4D-907B-711A87F9954D}" type="presParOf" srcId="{F5EC76F4-47EB-E746-9598-F9A0F1C1A32D}" destId="{E72CF8F4-F4C4-B54E-A8BD-FFC080FC3FB2}" srcOrd="1" destOrd="0" presId="urn:microsoft.com/office/officeart/2005/8/layout/hierarchy2"/>
    <dgm:cxn modelId="{18454444-7786-8B4E-BD11-DF3E0323C11B}" type="presParOf" srcId="{BE89600E-7229-2241-A6CA-F9E3C89E8655}" destId="{4A0C4D72-A0E1-4B41-B9E2-8516946458AD}" srcOrd="2" destOrd="0" presId="urn:microsoft.com/office/officeart/2005/8/layout/hierarchy2"/>
    <dgm:cxn modelId="{DCD57A30-9C3A-844C-9599-4687E3EC5849}" type="presParOf" srcId="{4A0C4D72-A0E1-4B41-B9E2-8516946458AD}" destId="{973D98EC-B6C3-EE43-BF98-66E290A8CF80}" srcOrd="0" destOrd="0" presId="urn:microsoft.com/office/officeart/2005/8/layout/hierarchy2"/>
    <dgm:cxn modelId="{E3ADC31A-CE8A-844C-A3EB-54E0E755E57C}" type="presParOf" srcId="{4A0C4D72-A0E1-4B41-B9E2-8516946458AD}" destId="{1FEE0603-5ED6-9347-81FE-E56668B63256}" srcOrd="1" destOrd="0" presId="urn:microsoft.com/office/officeart/2005/8/layout/hierarchy2"/>
    <dgm:cxn modelId="{A1E662AB-FD92-AF42-BA48-58FBAEBF5F31}" type="presParOf" srcId="{1FEE0603-5ED6-9347-81FE-E56668B63256}" destId="{30CA4377-8D46-3B40-9738-1063EC96EC0D}" srcOrd="0" destOrd="0" presId="urn:microsoft.com/office/officeart/2005/8/layout/hierarchy2"/>
    <dgm:cxn modelId="{F1A67031-83A8-D54B-80BB-006F2087D172}" type="presParOf" srcId="{30CA4377-8D46-3B40-9738-1063EC96EC0D}" destId="{2F6569F0-D6B7-5D40-AAE8-85C23CA6F927}" srcOrd="0" destOrd="0" presId="urn:microsoft.com/office/officeart/2005/8/layout/hierarchy2"/>
    <dgm:cxn modelId="{09BD0498-DCB4-1747-8037-6DC45E8274B6}" type="presParOf" srcId="{1FEE0603-5ED6-9347-81FE-E56668B63256}" destId="{BAD87828-6BB2-7C47-ACF7-1D9857AE7FF8}" srcOrd="1" destOrd="0" presId="urn:microsoft.com/office/officeart/2005/8/layout/hierarchy2"/>
    <dgm:cxn modelId="{E42AA641-2907-ED42-967C-0E5523129DD5}" type="presParOf" srcId="{BAD87828-6BB2-7C47-ACF7-1D9857AE7FF8}" destId="{05929E7C-CD3F-7640-8C66-E284486EE659}" srcOrd="0" destOrd="0" presId="urn:microsoft.com/office/officeart/2005/8/layout/hierarchy2"/>
    <dgm:cxn modelId="{08BEC6B1-6809-2D4D-8C7C-D26EC67EF846}" type="presParOf" srcId="{BAD87828-6BB2-7C47-ACF7-1D9857AE7FF8}" destId="{1CC5488A-23A0-634E-A16B-69D3EF8A9375}" srcOrd="1" destOrd="0" presId="urn:microsoft.com/office/officeart/2005/8/layout/hierarchy2"/>
  </dgm:cxnLst>
  <dgm:bg/>
  <dgm:whole>
    <a:ln w="12700"/>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87AD75F-D03D-804A-9EB4-8D0E82D14E9E}" type="doc">
      <dgm:prSet loTypeId="urn:microsoft.com/office/officeart/2008/layout/VerticalCurvedList" loCatId="" qsTypeId="urn:microsoft.com/office/officeart/2005/8/quickstyle/simple1" qsCatId="simple" csTypeId="urn:microsoft.com/office/officeart/2005/8/colors/accent0_2" csCatId="mainScheme" phldr="1"/>
      <dgm:spPr/>
      <dgm:t>
        <a:bodyPr/>
        <a:lstStyle/>
        <a:p>
          <a:endParaRPr lang="en-US"/>
        </a:p>
      </dgm:t>
    </dgm:pt>
    <dgm:pt modelId="{740F8A81-B403-AF40-B3DC-F42F9595466D}">
      <dgm:prSet phldrT="[Text]" custT="1"/>
      <dgm:spPr>
        <a:noFill/>
        <a:ln w="12700">
          <a:solidFill>
            <a:schemeClr val="tx1"/>
          </a:solidFill>
          <a:prstDash val="sysDash"/>
        </a:ln>
      </dgm:spPr>
      <dgm:t>
        <a:bodyPr/>
        <a:lstStyle/>
        <a:p>
          <a:r>
            <a:rPr lang="en-US" sz="1000">
              <a:solidFill>
                <a:schemeClr val="tx1"/>
              </a:solidFill>
              <a:latin typeface="Helvetica Neue"/>
            </a:rPr>
            <a:t>Learning rate</a:t>
          </a:r>
        </a:p>
      </dgm:t>
    </dgm:pt>
    <dgm:pt modelId="{347F55A5-482D-CF4D-9BBF-A5FD381E027A}" type="parTrans" cxnId="{4B2F7500-5773-8C4E-B182-F87C06534431}">
      <dgm:prSet/>
      <dgm:spPr/>
      <dgm:t>
        <a:bodyPr/>
        <a:lstStyle/>
        <a:p>
          <a:endParaRPr lang="en-US"/>
        </a:p>
      </dgm:t>
    </dgm:pt>
    <dgm:pt modelId="{21372A71-CBE1-DB42-BC9F-6848524F27D8}" type="sibTrans" cxnId="{4B2F7500-5773-8C4E-B182-F87C06534431}">
      <dgm:prSet/>
      <dgm:spPr>
        <a:solidFill>
          <a:srgbClr val="D5D5D5"/>
        </a:solidFill>
        <a:ln w="19050">
          <a:noFill/>
        </a:ln>
      </dgm:spPr>
      <dgm:t>
        <a:bodyPr/>
        <a:lstStyle/>
        <a:p>
          <a:endParaRPr lang="en-US"/>
        </a:p>
      </dgm:t>
    </dgm:pt>
    <dgm:pt modelId="{5DAD00D1-E3BD-BE4A-8F9F-208090E2DBBA}">
      <dgm:prSet phldrT="[Text]" custT="1"/>
      <dgm:spPr>
        <a:noFill/>
        <a:ln w="12700">
          <a:solidFill>
            <a:schemeClr val="tx1"/>
          </a:solidFill>
          <a:prstDash val="sysDash"/>
        </a:ln>
      </dgm:spPr>
      <dgm:t>
        <a:bodyPr/>
        <a:lstStyle/>
        <a:p>
          <a:pPr rtl="0"/>
          <a:r>
            <a:rPr lang="en-US" sz="1000">
              <a:solidFill>
                <a:schemeClr val="tx1"/>
              </a:solidFill>
              <a:latin typeface="Helvetica Neue"/>
            </a:rPr>
            <a:t># of Attention Heads</a:t>
          </a:r>
        </a:p>
      </dgm:t>
    </dgm:pt>
    <dgm:pt modelId="{6FDB012C-E4BA-AF4D-B4FD-F13985FA99BA}" type="parTrans" cxnId="{563C87F3-A3C3-2D47-9C07-9150C7BEECCA}">
      <dgm:prSet/>
      <dgm:spPr/>
      <dgm:t>
        <a:bodyPr/>
        <a:lstStyle/>
        <a:p>
          <a:endParaRPr lang="en-US"/>
        </a:p>
      </dgm:t>
    </dgm:pt>
    <dgm:pt modelId="{EE249EBF-7194-8A4F-BD9F-5EC700BF40EB}" type="sibTrans" cxnId="{563C87F3-A3C3-2D47-9C07-9150C7BEECCA}">
      <dgm:prSet/>
      <dgm:spPr/>
      <dgm:t>
        <a:bodyPr/>
        <a:lstStyle/>
        <a:p>
          <a:endParaRPr lang="en-US"/>
        </a:p>
      </dgm:t>
    </dgm:pt>
    <dgm:pt modelId="{6BA161FB-2C22-D642-9538-3579189E3839}">
      <dgm:prSet phldrT="[Text]" custT="1"/>
      <dgm:spPr>
        <a:noFill/>
        <a:ln w="12700">
          <a:solidFill>
            <a:schemeClr val="tx1"/>
          </a:solidFill>
          <a:prstDash val="sysDash"/>
        </a:ln>
      </dgm:spPr>
      <dgm:t>
        <a:bodyPr/>
        <a:lstStyle/>
        <a:p>
          <a:pPr rtl="0"/>
          <a:r>
            <a:rPr lang="en-US" sz="1000">
              <a:solidFill>
                <a:schemeClr val="tx1"/>
              </a:solidFill>
              <a:latin typeface="Helvetica Neue"/>
            </a:rPr>
            <a:t>Hidden Layer Size</a:t>
          </a:r>
        </a:p>
      </dgm:t>
    </dgm:pt>
    <dgm:pt modelId="{995CCAFE-4EBF-C54F-ABCC-AD0BBA8A472F}" type="parTrans" cxnId="{F3B3EC10-A824-B745-8F19-1BA4CDF5AA88}">
      <dgm:prSet/>
      <dgm:spPr/>
      <dgm:t>
        <a:bodyPr/>
        <a:lstStyle/>
        <a:p>
          <a:endParaRPr lang="en-US"/>
        </a:p>
      </dgm:t>
    </dgm:pt>
    <dgm:pt modelId="{BD840C4A-0ACA-7E41-9168-24DC7E8769EC}" type="sibTrans" cxnId="{F3B3EC10-A824-B745-8F19-1BA4CDF5AA88}">
      <dgm:prSet/>
      <dgm:spPr/>
      <dgm:t>
        <a:bodyPr/>
        <a:lstStyle/>
        <a:p>
          <a:endParaRPr lang="en-US"/>
        </a:p>
      </dgm:t>
    </dgm:pt>
    <dgm:pt modelId="{F678A8AF-AE73-554E-A46A-D77F990BEE9F}">
      <dgm:prSet phldrT="[Text]" custT="1"/>
      <dgm:spPr>
        <a:noFill/>
        <a:ln w="12700">
          <a:solidFill>
            <a:schemeClr val="tx1"/>
          </a:solidFill>
          <a:prstDash val="sysDash"/>
        </a:ln>
      </dgm:spPr>
      <dgm:t>
        <a:bodyPr/>
        <a:lstStyle/>
        <a:p>
          <a:pPr rtl="0"/>
          <a:r>
            <a:rPr lang="en-US" sz="1000">
              <a:solidFill>
                <a:schemeClr val="tx1"/>
              </a:solidFill>
              <a:latin typeface="Helvetica Neue"/>
            </a:rPr>
            <a:t>Drop Out Rate</a:t>
          </a:r>
        </a:p>
      </dgm:t>
    </dgm:pt>
    <dgm:pt modelId="{79706ACF-C3BF-BD48-B4D0-5A689FCA0F19}" type="parTrans" cxnId="{5E626DCE-E646-6A46-94AE-89760EF934FB}">
      <dgm:prSet/>
      <dgm:spPr/>
      <dgm:t>
        <a:bodyPr/>
        <a:lstStyle/>
        <a:p>
          <a:endParaRPr lang="en-US"/>
        </a:p>
      </dgm:t>
    </dgm:pt>
    <dgm:pt modelId="{6289BD91-69C2-FA4F-94FF-D558F00D9E24}" type="sibTrans" cxnId="{5E626DCE-E646-6A46-94AE-89760EF934FB}">
      <dgm:prSet/>
      <dgm:spPr/>
      <dgm:t>
        <a:bodyPr/>
        <a:lstStyle/>
        <a:p>
          <a:endParaRPr lang="en-US"/>
        </a:p>
      </dgm:t>
    </dgm:pt>
    <dgm:pt modelId="{3AE82B97-7DEB-3749-AE39-792E049971C3}">
      <dgm:prSet phldrT="[Text]" custT="1"/>
      <dgm:spPr>
        <a:noFill/>
        <a:ln w="12700">
          <a:solidFill>
            <a:schemeClr val="tx1"/>
          </a:solidFill>
          <a:prstDash val="sysDash"/>
        </a:ln>
      </dgm:spPr>
      <dgm:t>
        <a:bodyPr/>
        <a:lstStyle/>
        <a:p>
          <a:pPr rtl="0"/>
          <a:r>
            <a:rPr lang="en-US" sz="1000">
              <a:solidFill>
                <a:schemeClr val="tx1"/>
              </a:solidFill>
              <a:latin typeface="Helvetica Neue"/>
            </a:rPr>
            <a:t>Batch Normalization</a:t>
          </a:r>
        </a:p>
      </dgm:t>
    </dgm:pt>
    <dgm:pt modelId="{66773CF1-0B93-C642-BF9B-4F8421D15E51}" type="parTrans" cxnId="{4E467C34-2171-1847-81EA-387C003194EC}">
      <dgm:prSet/>
      <dgm:spPr/>
      <dgm:t>
        <a:bodyPr/>
        <a:lstStyle/>
        <a:p>
          <a:endParaRPr lang="en-US"/>
        </a:p>
      </dgm:t>
    </dgm:pt>
    <dgm:pt modelId="{FBEE7910-29D2-B54A-B088-6046B3C46113}" type="sibTrans" cxnId="{4E467C34-2171-1847-81EA-387C003194EC}">
      <dgm:prSet/>
      <dgm:spPr/>
      <dgm:t>
        <a:bodyPr/>
        <a:lstStyle/>
        <a:p>
          <a:endParaRPr lang="en-US"/>
        </a:p>
      </dgm:t>
    </dgm:pt>
    <dgm:pt modelId="{B1A86ECA-DA43-BA4B-A14A-56ADB7E149D3}">
      <dgm:prSet phldrT="[Text]" custT="1"/>
      <dgm:spPr>
        <a:noFill/>
        <a:ln w="12700">
          <a:solidFill>
            <a:schemeClr val="tx1"/>
          </a:solidFill>
          <a:prstDash val="sysDash"/>
        </a:ln>
      </dgm:spPr>
      <dgm:t>
        <a:bodyPr/>
        <a:lstStyle/>
        <a:p>
          <a:r>
            <a:rPr lang="en-US" sz="1000">
              <a:solidFill>
                <a:schemeClr val="tx1"/>
              </a:solidFill>
              <a:latin typeface="Helvetica Neue"/>
            </a:rPr>
            <a:t>Feedforward</a:t>
          </a:r>
        </a:p>
      </dgm:t>
    </dgm:pt>
    <dgm:pt modelId="{318F4CE2-076A-614B-8B4F-EB78EB688051}" type="parTrans" cxnId="{890661C4-2CC1-304B-ACBF-62051EF2543D}">
      <dgm:prSet/>
      <dgm:spPr/>
      <dgm:t>
        <a:bodyPr/>
        <a:lstStyle/>
        <a:p>
          <a:endParaRPr lang="en-US"/>
        </a:p>
      </dgm:t>
    </dgm:pt>
    <dgm:pt modelId="{F122A74B-E343-BB47-AC50-47488000ADE7}" type="sibTrans" cxnId="{890661C4-2CC1-304B-ACBF-62051EF2543D}">
      <dgm:prSet/>
      <dgm:spPr/>
      <dgm:t>
        <a:bodyPr/>
        <a:lstStyle/>
        <a:p>
          <a:endParaRPr lang="en-US"/>
        </a:p>
      </dgm:t>
    </dgm:pt>
    <dgm:pt modelId="{67BA086F-0EE4-4050-B7A6-E0D211F0DE05}">
      <dgm:prSet phldr="0" custT="1"/>
      <dgm:spPr>
        <a:ln w="6350">
          <a:prstDash val="dash"/>
        </a:ln>
      </dgm:spPr>
      <dgm:t>
        <a:bodyPr/>
        <a:lstStyle/>
        <a:p>
          <a:pPr rtl="0"/>
          <a:r>
            <a:rPr lang="en-US" sz="1000">
              <a:solidFill>
                <a:schemeClr val="tx1"/>
              </a:solidFill>
              <a:latin typeface="Helvetica Neue"/>
            </a:rPr>
            <a:t># of Transformer Layer</a:t>
          </a:r>
          <a:endParaRPr lang="en-US" sz="1400">
            <a:solidFill>
              <a:schemeClr val="tx1"/>
            </a:solidFill>
            <a:latin typeface="Helvetica Neue"/>
          </a:endParaRPr>
        </a:p>
      </dgm:t>
    </dgm:pt>
    <dgm:pt modelId="{1DD48CE0-C24A-4987-BA88-B7612EFCFF26}" type="parTrans" cxnId="{243DA00F-45DC-4E52-86B5-EA8C1FE92259}">
      <dgm:prSet/>
      <dgm:spPr/>
      <dgm:t>
        <a:bodyPr/>
        <a:lstStyle/>
        <a:p>
          <a:endParaRPr lang="en-US"/>
        </a:p>
      </dgm:t>
    </dgm:pt>
    <dgm:pt modelId="{9F1E36D0-99CF-4833-AB87-CC94726BFDD4}" type="sibTrans" cxnId="{243DA00F-45DC-4E52-86B5-EA8C1FE92259}">
      <dgm:prSet/>
      <dgm:spPr/>
      <dgm:t>
        <a:bodyPr/>
        <a:lstStyle/>
        <a:p>
          <a:endParaRPr lang="en-US"/>
        </a:p>
      </dgm:t>
    </dgm:pt>
    <dgm:pt modelId="{16F302C7-7A15-F349-A202-283B47A4307E}" type="pres">
      <dgm:prSet presAssocID="{A87AD75F-D03D-804A-9EB4-8D0E82D14E9E}" presName="Name0" presStyleCnt="0">
        <dgm:presLayoutVars>
          <dgm:chMax val="7"/>
          <dgm:chPref val="7"/>
          <dgm:dir/>
        </dgm:presLayoutVars>
      </dgm:prSet>
      <dgm:spPr/>
    </dgm:pt>
    <dgm:pt modelId="{BF12137C-14A3-2E46-A784-9AFCAB828D6C}" type="pres">
      <dgm:prSet presAssocID="{A87AD75F-D03D-804A-9EB4-8D0E82D14E9E}" presName="Name1" presStyleCnt="0"/>
      <dgm:spPr/>
    </dgm:pt>
    <dgm:pt modelId="{AC6C78AA-D9A3-FA46-9CC5-9F563142BB1B}" type="pres">
      <dgm:prSet presAssocID="{A87AD75F-D03D-804A-9EB4-8D0E82D14E9E}" presName="cycle" presStyleCnt="0"/>
      <dgm:spPr/>
    </dgm:pt>
    <dgm:pt modelId="{094F7818-8388-AA46-985D-A42C003AE0DB}" type="pres">
      <dgm:prSet presAssocID="{A87AD75F-D03D-804A-9EB4-8D0E82D14E9E}" presName="srcNode" presStyleLbl="node1" presStyleIdx="0" presStyleCnt="7"/>
      <dgm:spPr/>
    </dgm:pt>
    <dgm:pt modelId="{3C05F29F-D528-194F-A6B5-AAA05D8DA922}" type="pres">
      <dgm:prSet presAssocID="{A87AD75F-D03D-804A-9EB4-8D0E82D14E9E}" presName="conn" presStyleLbl="parChTrans1D2" presStyleIdx="0" presStyleCnt="1"/>
      <dgm:spPr/>
    </dgm:pt>
    <dgm:pt modelId="{74CC8FB1-1B8D-BF4A-A4D9-69D713F9D3D8}" type="pres">
      <dgm:prSet presAssocID="{A87AD75F-D03D-804A-9EB4-8D0E82D14E9E}" presName="extraNode" presStyleLbl="node1" presStyleIdx="0" presStyleCnt="7"/>
      <dgm:spPr/>
    </dgm:pt>
    <dgm:pt modelId="{8738038E-661A-BB4A-A29D-CF1A8F21CE29}" type="pres">
      <dgm:prSet presAssocID="{A87AD75F-D03D-804A-9EB4-8D0E82D14E9E}" presName="dstNode" presStyleLbl="node1" presStyleIdx="0" presStyleCnt="7"/>
      <dgm:spPr/>
    </dgm:pt>
    <dgm:pt modelId="{C53C6827-930E-1A4E-8C8A-9F7275335C27}" type="pres">
      <dgm:prSet presAssocID="{740F8A81-B403-AF40-B3DC-F42F9595466D}" presName="text_1" presStyleLbl="node1" presStyleIdx="0" presStyleCnt="7">
        <dgm:presLayoutVars>
          <dgm:bulletEnabled val="1"/>
        </dgm:presLayoutVars>
      </dgm:prSet>
      <dgm:spPr/>
    </dgm:pt>
    <dgm:pt modelId="{88E015C7-501D-6342-BD3D-F877C815EE9B}" type="pres">
      <dgm:prSet presAssocID="{740F8A81-B403-AF40-B3DC-F42F9595466D}" presName="accent_1" presStyleCnt="0"/>
      <dgm:spPr/>
    </dgm:pt>
    <dgm:pt modelId="{1A95E120-89BB-1947-B752-24181DA708BE}" type="pres">
      <dgm:prSet presAssocID="{740F8A81-B403-AF40-B3DC-F42F9595466D}" presName="accentRepeatNode" presStyleLbl="solidFgAcc1" presStyleIdx="0" presStyleCnt="7"/>
      <dgm:spPr>
        <a:solidFill>
          <a:srgbClr val="D5D5D5"/>
        </a:solidFill>
        <a:ln w="12700">
          <a:solidFill>
            <a:schemeClr val="tx1"/>
          </a:solidFill>
        </a:ln>
      </dgm:spPr>
    </dgm:pt>
    <dgm:pt modelId="{A4ED58E0-A177-9048-A733-42E78819C5B8}" type="pres">
      <dgm:prSet presAssocID="{5DAD00D1-E3BD-BE4A-8F9F-208090E2DBBA}" presName="text_2" presStyleLbl="node1" presStyleIdx="1" presStyleCnt="7">
        <dgm:presLayoutVars>
          <dgm:bulletEnabled val="1"/>
        </dgm:presLayoutVars>
      </dgm:prSet>
      <dgm:spPr/>
    </dgm:pt>
    <dgm:pt modelId="{243AE4B7-B885-4B41-901A-F223FC9C47C1}" type="pres">
      <dgm:prSet presAssocID="{5DAD00D1-E3BD-BE4A-8F9F-208090E2DBBA}" presName="accent_2" presStyleCnt="0"/>
      <dgm:spPr/>
    </dgm:pt>
    <dgm:pt modelId="{8BD879D5-6C99-2D4B-AFE5-D8BB0ECE54A4}" type="pres">
      <dgm:prSet presAssocID="{5DAD00D1-E3BD-BE4A-8F9F-208090E2DBBA}" presName="accentRepeatNode" presStyleLbl="solidFgAcc1" presStyleIdx="1" presStyleCnt="7"/>
      <dgm:spPr>
        <a:solidFill>
          <a:srgbClr val="D5D5D5"/>
        </a:solidFill>
        <a:ln w="12700">
          <a:solidFill>
            <a:schemeClr val="tx1"/>
          </a:solidFill>
        </a:ln>
      </dgm:spPr>
    </dgm:pt>
    <dgm:pt modelId="{3BCB405A-2BCE-D942-B399-7BC3AF954513}" type="pres">
      <dgm:prSet presAssocID="{6BA161FB-2C22-D642-9538-3579189E3839}" presName="text_3" presStyleLbl="node1" presStyleIdx="2" presStyleCnt="7">
        <dgm:presLayoutVars>
          <dgm:bulletEnabled val="1"/>
        </dgm:presLayoutVars>
      </dgm:prSet>
      <dgm:spPr/>
    </dgm:pt>
    <dgm:pt modelId="{7C19B1B0-3BD7-754E-AD34-F8EA476CC13F}" type="pres">
      <dgm:prSet presAssocID="{6BA161FB-2C22-D642-9538-3579189E3839}" presName="accent_3" presStyleCnt="0"/>
      <dgm:spPr/>
    </dgm:pt>
    <dgm:pt modelId="{45467174-D124-8848-9733-B54F52B065A1}" type="pres">
      <dgm:prSet presAssocID="{6BA161FB-2C22-D642-9538-3579189E3839}" presName="accentRepeatNode" presStyleLbl="solidFgAcc1" presStyleIdx="2" presStyleCnt="7"/>
      <dgm:spPr>
        <a:solidFill>
          <a:srgbClr val="D5D5D5"/>
        </a:solidFill>
        <a:ln w="12700">
          <a:solidFill>
            <a:schemeClr val="tx1"/>
          </a:solidFill>
        </a:ln>
      </dgm:spPr>
    </dgm:pt>
    <dgm:pt modelId="{55001DF0-276B-3248-A1C5-96D319467916}" type="pres">
      <dgm:prSet presAssocID="{F678A8AF-AE73-554E-A46A-D77F990BEE9F}" presName="text_4" presStyleLbl="node1" presStyleIdx="3" presStyleCnt="7">
        <dgm:presLayoutVars>
          <dgm:bulletEnabled val="1"/>
        </dgm:presLayoutVars>
      </dgm:prSet>
      <dgm:spPr/>
    </dgm:pt>
    <dgm:pt modelId="{99EE1836-1FF6-0943-AD13-1402025C670D}" type="pres">
      <dgm:prSet presAssocID="{F678A8AF-AE73-554E-A46A-D77F990BEE9F}" presName="accent_4" presStyleCnt="0"/>
      <dgm:spPr/>
    </dgm:pt>
    <dgm:pt modelId="{53E84DE1-3358-9147-B947-1BB2B3A74D13}" type="pres">
      <dgm:prSet presAssocID="{F678A8AF-AE73-554E-A46A-D77F990BEE9F}" presName="accentRepeatNode" presStyleLbl="solidFgAcc1" presStyleIdx="3" presStyleCnt="7"/>
      <dgm:spPr>
        <a:solidFill>
          <a:srgbClr val="D5D5D5"/>
        </a:solidFill>
        <a:ln w="12700">
          <a:solidFill>
            <a:schemeClr val="tx1"/>
          </a:solidFill>
        </a:ln>
      </dgm:spPr>
    </dgm:pt>
    <dgm:pt modelId="{B3F8D2C8-077A-0F44-8C45-6E16F9D2977A}" type="pres">
      <dgm:prSet presAssocID="{3AE82B97-7DEB-3749-AE39-792E049971C3}" presName="text_5" presStyleLbl="node1" presStyleIdx="4" presStyleCnt="7">
        <dgm:presLayoutVars>
          <dgm:bulletEnabled val="1"/>
        </dgm:presLayoutVars>
      </dgm:prSet>
      <dgm:spPr/>
    </dgm:pt>
    <dgm:pt modelId="{C29FD85C-1D97-D042-9E55-48A603AC1619}" type="pres">
      <dgm:prSet presAssocID="{3AE82B97-7DEB-3749-AE39-792E049971C3}" presName="accent_5" presStyleCnt="0"/>
      <dgm:spPr/>
    </dgm:pt>
    <dgm:pt modelId="{042AA417-94A3-1D42-82E1-9BDDBFE67E38}" type="pres">
      <dgm:prSet presAssocID="{3AE82B97-7DEB-3749-AE39-792E049971C3}" presName="accentRepeatNode" presStyleLbl="solidFgAcc1" presStyleIdx="4" presStyleCnt="7"/>
      <dgm:spPr>
        <a:solidFill>
          <a:srgbClr val="D5D5D5"/>
        </a:solidFill>
        <a:ln w="12700">
          <a:solidFill>
            <a:schemeClr val="tx1"/>
          </a:solidFill>
        </a:ln>
      </dgm:spPr>
    </dgm:pt>
    <dgm:pt modelId="{4DBD36D8-829A-4B44-A43B-2FF0B5D40880}" type="pres">
      <dgm:prSet presAssocID="{B1A86ECA-DA43-BA4B-A14A-56ADB7E149D3}" presName="text_6" presStyleLbl="node1" presStyleIdx="5" presStyleCnt="7">
        <dgm:presLayoutVars>
          <dgm:bulletEnabled val="1"/>
        </dgm:presLayoutVars>
      </dgm:prSet>
      <dgm:spPr/>
    </dgm:pt>
    <dgm:pt modelId="{9B6DF6BC-DBF1-8445-BDF4-7B275B3E9505}" type="pres">
      <dgm:prSet presAssocID="{B1A86ECA-DA43-BA4B-A14A-56ADB7E149D3}" presName="accent_6" presStyleCnt="0"/>
      <dgm:spPr/>
    </dgm:pt>
    <dgm:pt modelId="{0C1DB10A-E691-F746-BD0C-B70BC01D07D3}" type="pres">
      <dgm:prSet presAssocID="{B1A86ECA-DA43-BA4B-A14A-56ADB7E149D3}" presName="accentRepeatNode" presStyleLbl="solidFgAcc1" presStyleIdx="5" presStyleCnt="7"/>
      <dgm:spPr>
        <a:solidFill>
          <a:srgbClr val="D5D5D5"/>
        </a:solidFill>
        <a:ln w="12700">
          <a:solidFill>
            <a:schemeClr val="tx1"/>
          </a:solidFill>
        </a:ln>
      </dgm:spPr>
    </dgm:pt>
    <dgm:pt modelId="{D90FB75F-6B62-4AE5-BA54-2ED0B89DC438}" type="pres">
      <dgm:prSet presAssocID="{67BA086F-0EE4-4050-B7A6-E0D211F0DE05}" presName="text_7" presStyleLbl="node1" presStyleIdx="6" presStyleCnt="7">
        <dgm:presLayoutVars>
          <dgm:bulletEnabled val="1"/>
        </dgm:presLayoutVars>
      </dgm:prSet>
      <dgm:spPr/>
    </dgm:pt>
    <dgm:pt modelId="{6C2A1DE1-65C4-4130-B1C0-3EFA5D7E989A}" type="pres">
      <dgm:prSet presAssocID="{67BA086F-0EE4-4050-B7A6-E0D211F0DE05}" presName="accent_7" presStyleCnt="0"/>
      <dgm:spPr/>
    </dgm:pt>
    <dgm:pt modelId="{6C7E0959-C83F-4054-B463-D90CE177EFB3}" type="pres">
      <dgm:prSet presAssocID="{67BA086F-0EE4-4050-B7A6-E0D211F0DE05}" presName="accentRepeatNode" presStyleLbl="solidFgAcc1" presStyleIdx="6" presStyleCnt="7"/>
      <dgm:spPr>
        <a:solidFill>
          <a:schemeClr val="bg2"/>
        </a:solidFill>
        <a:ln w="3175"/>
      </dgm:spPr>
    </dgm:pt>
  </dgm:ptLst>
  <dgm:cxnLst>
    <dgm:cxn modelId="{4B2F7500-5773-8C4E-B182-F87C06534431}" srcId="{A87AD75F-D03D-804A-9EB4-8D0E82D14E9E}" destId="{740F8A81-B403-AF40-B3DC-F42F9595466D}" srcOrd="0" destOrd="0" parTransId="{347F55A5-482D-CF4D-9BBF-A5FD381E027A}" sibTransId="{21372A71-CBE1-DB42-BC9F-6848524F27D8}"/>
    <dgm:cxn modelId="{E035DA0B-9F14-4BE2-9623-2943DBFAB580}" type="presOf" srcId="{6BA161FB-2C22-D642-9538-3579189E3839}" destId="{3BCB405A-2BCE-D942-B399-7BC3AF954513}" srcOrd="0" destOrd="0" presId="urn:microsoft.com/office/officeart/2008/layout/VerticalCurvedList"/>
    <dgm:cxn modelId="{243DA00F-45DC-4E52-86B5-EA8C1FE92259}" srcId="{A87AD75F-D03D-804A-9EB4-8D0E82D14E9E}" destId="{67BA086F-0EE4-4050-B7A6-E0D211F0DE05}" srcOrd="6" destOrd="0" parTransId="{1DD48CE0-C24A-4987-BA88-B7612EFCFF26}" sibTransId="{9F1E36D0-99CF-4833-AB87-CC94726BFDD4}"/>
    <dgm:cxn modelId="{F3B3EC10-A824-B745-8F19-1BA4CDF5AA88}" srcId="{A87AD75F-D03D-804A-9EB4-8D0E82D14E9E}" destId="{6BA161FB-2C22-D642-9538-3579189E3839}" srcOrd="2" destOrd="0" parTransId="{995CCAFE-4EBF-C54F-ABCC-AD0BBA8A472F}" sibTransId="{BD840C4A-0ACA-7E41-9168-24DC7E8769EC}"/>
    <dgm:cxn modelId="{53AF2D25-7589-499E-8722-61AE27A2AD18}" type="presOf" srcId="{67BA086F-0EE4-4050-B7A6-E0D211F0DE05}" destId="{D90FB75F-6B62-4AE5-BA54-2ED0B89DC438}" srcOrd="0" destOrd="0" presId="urn:microsoft.com/office/officeart/2008/layout/VerticalCurvedList"/>
    <dgm:cxn modelId="{38C95F2A-487B-46DF-B883-E3FE88A0DF7D}" type="presOf" srcId="{B1A86ECA-DA43-BA4B-A14A-56ADB7E149D3}" destId="{4DBD36D8-829A-4B44-A43B-2FF0B5D40880}" srcOrd="0" destOrd="0" presId="urn:microsoft.com/office/officeart/2008/layout/VerticalCurvedList"/>
    <dgm:cxn modelId="{4E467C34-2171-1847-81EA-387C003194EC}" srcId="{A87AD75F-D03D-804A-9EB4-8D0E82D14E9E}" destId="{3AE82B97-7DEB-3749-AE39-792E049971C3}" srcOrd="4" destOrd="0" parTransId="{66773CF1-0B93-C642-BF9B-4F8421D15E51}" sibTransId="{FBEE7910-29D2-B54A-B088-6046B3C46113}"/>
    <dgm:cxn modelId="{E738FE44-C38D-4FB1-A720-B0B01270FEFF}" type="presOf" srcId="{21372A71-CBE1-DB42-BC9F-6848524F27D8}" destId="{3C05F29F-D528-194F-A6B5-AAA05D8DA922}" srcOrd="0" destOrd="0" presId="urn:microsoft.com/office/officeart/2008/layout/VerticalCurvedList"/>
    <dgm:cxn modelId="{88745E8D-7D70-6747-9B5E-1F05F0B2F9F4}" type="presOf" srcId="{A87AD75F-D03D-804A-9EB4-8D0E82D14E9E}" destId="{16F302C7-7A15-F349-A202-283B47A4307E}" srcOrd="0" destOrd="0" presId="urn:microsoft.com/office/officeart/2008/layout/VerticalCurvedList"/>
    <dgm:cxn modelId="{524F84A8-D05E-476F-9077-4AB15BA7FEA2}" type="presOf" srcId="{F678A8AF-AE73-554E-A46A-D77F990BEE9F}" destId="{55001DF0-276B-3248-A1C5-96D319467916}" srcOrd="0" destOrd="0" presId="urn:microsoft.com/office/officeart/2008/layout/VerticalCurvedList"/>
    <dgm:cxn modelId="{5238F9B6-D13A-45EE-A7E2-1760EFCE129F}" type="presOf" srcId="{3AE82B97-7DEB-3749-AE39-792E049971C3}" destId="{B3F8D2C8-077A-0F44-8C45-6E16F9D2977A}" srcOrd="0" destOrd="0" presId="urn:microsoft.com/office/officeart/2008/layout/VerticalCurvedList"/>
    <dgm:cxn modelId="{63596FB8-7713-4C49-B1E7-4DD07CF9CDD4}" type="presOf" srcId="{740F8A81-B403-AF40-B3DC-F42F9595466D}" destId="{C53C6827-930E-1A4E-8C8A-9F7275335C27}" srcOrd="0" destOrd="0" presId="urn:microsoft.com/office/officeart/2008/layout/VerticalCurvedList"/>
    <dgm:cxn modelId="{890661C4-2CC1-304B-ACBF-62051EF2543D}" srcId="{A87AD75F-D03D-804A-9EB4-8D0E82D14E9E}" destId="{B1A86ECA-DA43-BA4B-A14A-56ADB7E149D3}" srcOrd="5" destOrd="0" parTransId="{318F4CE2-076A-614B-8B4F-EB78EB688051}" sibTransId="{F122A74B-E343-BB47-AC50-47488000ADE7}"/>
    <dgm:cxn modelId="{423F62C8-F0F3-43B1-98C4-1FDAE6817592}" type="presOf" srcId="{5DAD00D1-E3BD-BE4A-8F9F-208090E2DBBA}" destId="{A4ED58E0-A177-9048-A733-42E78819C5B8}" srcOrd="0" destOrd="0" presId="urn:microsoft.com/office/officeart/2008/layout/VerticalCurvedList"/>
    <dgm:cxn modelId="{5E626DCE-E646-6A46-94AE-89760EF934FB}" srcId="{A87AD75F-D03D-804A-9EB4-8D0E82D14E9E}" destId="{F678A8AF-AE73-554E-A46A-D77F990BEE9F}" srcOrd="3" destOrd="0" parTransId="{79706ACF-C3BF-BD48-B4D0-5A689FCA0F19}" sibTransId="{6289BD91-69C2-FA4F-94FF-D558F00D9E24}"/>
    <dgm:cxn modelId="{563C87F3-A3C3-2D47-9C07-9150C7BEECCA}" srcId="{A87AD75F-D03D-804A-9EB4-8D0E82D14E9E}" destId="{5DAD00D1-E3BD-BE4A-8F9F-208090E2DBBA}" srcOrd="1" destOrd="0" parTransId="{6FDB012C-E4BA-AF4D-B4FD-F13985FA99BA}" sibTransId="{EE249EBF-7194-8A4F-BD9F-5EC700BF40EB}"/>
    <dgm:cxn modelId="{7D6DF2CE-D26B-46F0-8B91-86031A8554EF}" type="presParOf" srcId="{16F302C7-7A15-F349-A202-283B47A4307E}" destId="{BF12137C-14A3-2E46-A784-9AFCAB828D6C}" srcOrd="0" destOrd="0" presId="urn:microsoft.com/office/officeart/2008/layout/VerticalCurvedList"/>
    <dgm:cxn modelId="{D868777D-4886-43CF-882D-939599854AC8}" type="presParOf" srcId="{BF12137C-14A3-2E46-A784-9AFCAB828D6C}" destId="{AC6C78AA-D9A3-FA46-9CC5-9F563142BB1B}" srcOrd="0" destOrd="0" presId="urn:microsoft.com/office/officeart/2008/layout/VerticalCurvedList"/>
    <dgm:cxn modelId="{F856D2C7-48AC-4E57-847C-0445A6F6F929}" type="presParOf" srcId="{AC6C78AA-D9A3-FA46-9CC5-9F563142BB1B}" destId="{094F7818-8388-AA46-985D-A42C003AE0DB}" srcOrd="0" destOrd="0" presId="urn:microsoft.com/office/officeart/2008/layout/VerticalCurvedList"/>
    <dgm:cxn modelId="{E69A9D78-0EE6-4233-A36F-B888F3CD11A2}" type="presParOf" srcId="{AC6C78AA-D9A3-FA46-9CC5-9F563142BB1B}" destId="{3C05F29F-D528-194F-A6B5-AAA05D8DA922}" srcOrd="1" destOrd="0" presId="urn:microsoft.com/office/officeart/2008/layout/VerticalCurvedList"/>
    <dgm:cxn modelId="{92042238-E821-422F-AD3F-F50850CE0A88}" type="presParOf" srcId="{AC6C78AA-D9A3-FA46-9CC5-9F563142BB1B}" destId="{74CC8FB1-1B8D-BF4A-A4D9-69D713F9D3D8}" srcOrd="2" destOrd="0" presId="urn:microsoft.com/office/officeart/2008/layout/VerticalCurvedList"/>
    <dgm:cxn modelId="{4ED480F6-9E46-4D95-A79D-12875CEAEC0D}" type="presParOf" srcId="{AC6C78AA-D9A3-FA46-9CC5-9F563142BB1B}" destId="{8738038E-661A-BB4A-A29D-CF1A8F21CE29}" srcOrd="3" destOrd="0" presId="urn:microsoft.com/office/officeart/2008/layout/VerticalCurvedList"/>
    <dgm:cxn modelId="{1008951B-0712-4C3A-8883-F7D1DF0893C4}" type="presParOf" srcId="{BF12137C-14A3-2E46-A784-9AFCAB828D6C}" destId="{C53C6827-930E-1A4E-8C8A-9F7275335C27}" srcOrd="1" destOrd="0" presId="urn:microsoft.com/office/officeart/2008/layout/VerticalCurvedList"/>
    <dgm:cxn modelId="{2B4C63BA-1424-4E53-A389-7C82832441EA}" type="presParOf" srcId="{BF12137C-14A3-2E46-A784-9AFCAB828D6C}" destId="{88E015C7-501D-6342-BD3D-F877C815EE9B}" srcOrd="2" destOrd="0" presId="urn:microsoft.com/office/officeart/2008/layout/VerticalCurvedList"/>
    <dgm:cxn modelId="{E66755FA-FF33-4BF2-8991-2CFFD5B9A929}" type="presParOf" srcId="{88E015C7-501D-6342-BD3D-F877C815EE9B}" destId="{1A95E120-89BB-1947-B752-24181DA708BE}" srcOrd="0" destOrd="0" presId="urn:microsoft.com/office/officeart/2008/layout/VerticalCurvedList"/>
    <dgm:cxn modelId="{E62E5406-1001-4620-91F4-4E867D6B514F}" type="presParOf" srcId="{BF12137C-14A3-2E46-A784-9AFCAB828D6C}" destId="{A4ED58E0-A177-9048-A733-42E78819C5B8}" srcOrd="3" destOrd="0" presId="urn:microsoft.com/office/officeart/2008/layout/VerticalCurvedList"/>
    <dgm:cxn modelId="{E4B449E7-7126-4C13-B1C2-4DF9D91C0730}" type="presParOf" srcId="{BF12137C-14A3-2E46-A784-9AFCAB828D6C}" destId="{243AE4B7-B885-4B41-901A-F223FC9C47C1}" srcOrd="4" destOrd="0" presId="urn:microsoft.com/office/officeart/2008/layout/VerticalCurvedList"/>
    <dgm:cxn modelId="{932A2181-4E10-479D-BAE5-4A56BF9E7674}" type="presParOf" srcId="{243AE4B7-B885-4B41-901A-F223FC9C47C1}" destId="{8BD879D5-6C99-2D4B-AFE5-D8BB0ECE54A4}" srcOrd="0" destOrd="0" presId="urn:microsoft.com/office/officeart/2008/layout/VerticalCurvedList"/>
    <dgm:cxn modelId="{F4CDFCD9-3F5F-4F3C-A45C-002AA91DE094}" type="presParOf" srcId="{BF12137C-14A3-2E46-A784-9AFCAB828D6C}" destId="{3BCB405A-2BCE-D942-B399-7BC3AF954513}" srcOrd="5" destOrd="0" presId="urn:microsoft.com/office/officeart/2008/layout/VerticalCurvedList"/>
    <dgm:cxn modelId="{53E48360-7882-4BFC-940B-A51E4F976761}" type="presParOf" srcId="{BF12137C-14A3-2E46-A784-9AFCAB828D6C}" destId="{7C19B1B0-3BD7-754E-AD34-F8EA476CC13F}" srcOrd="6" destOrd="0" presId="urn:microsoft.com/office/officeart/2008/layout/VerticalCurvedList"/>
    <dgm:cxn modelId="{5B936DF5-569B-4F83-A5A3-30A771EE5283}" type="presParOf" srcId="{7C19B1B0-3BD7-754E-AD34-F8EA476CC13F}" destId="{45467174-D124-8848-9733-B54F52B065A1}" srcOrd="0" destOrd="0" presId="urn:microsoft.com/office/officeart/2008/layout/VerticalCurvedList"/>
    <dgm:cxn modelId="{641DE33E-21CE-4057-A1F1-89B004916C92}" type="presParOf" srcId="{BF12137C-14A3-2E46-A784-9AFCAB828D6C}" destId="{55001DF0-276B-3248-A1C5-96D319467916}" srcOrd="7" destOrd="0" presId="urn:microsoft.com/office/officeart/2008/layout/VerticalCurvedList"/>
    <dgm:cxn modelId="{DCD6598E-9B00-4D60-B6AE-E50E742E0FD7}" type="presParOf" srcId="{BF12137C-14A3-2E46-A784-9AFCAB828D6C}" destId="{99EE1836-1FF6-0943-AD13-1402025C670D}" srcOrd="8" destOrd="0" presId="urn:microsoft.com/office/officeart/2008/layout/VerticalCurvedList"/>
    <dgm:cxn modelId="{0D49B656-540E-4861-A2B1-52081F9B8C39}" type="presParOf" srcId="{99EE1836-1FF6-0943-AD13-1402025C670D}" destId="{53E84DE1-3358-9147-B947-1BB2B3A74D13}" srcOrd="0" destOrd="0" presId="urn:microsoft.com/office/officeart/2008/layout/VerticalCurvedList"/>
    <dgm:cxn modelId="{8CE8037F-7A61-4FF4-AE29-5C747998FBFB}" type="presParOf" srcId="{BF12137C-14A3-2E46-A784-9AFCAB828D6C}" destId="{B3F8D2C8-077A-0F44-8C45-6E16F9D2977A}" srcOrd="9" destOrd="0" presId="urn:microsoft.com/office/officeart/2008/layout/VerticalCurvedList"/>
    <dgm:cxn modelId="{B0921A81-E3D0-434E-8AB8-4EC16C3729D5}" type="presParOf" srcId="{BF12137C-14A3-2E46-A784-9AFCAB828D6C}" destId="{C29FD85C-1D97-D042-9E55-48A603AC1619}" srcOrd="10" destOrd="0" presId="urn:microsoft.com/office/officeart/2008/layout/VerticalCurvedList"/>
    <dgm:cxn modelId="{EB8668C8-C665-4705-A74F-29320896373C}" type="presParOf" srcId="{C29FD85C-1D97-D042-9E55-48A603AC1619}" destId="{042AA417-94A3-1D42-82E1-9BDDBFE67E38}" srcOrd="0" destOrd="0" presId="urn:microsoft.com/office/officeart/2008/layout/VerticalCurvedList"/>
    <dgm:cxn modelId="{80D92A59-98E5-4F0F-B9D1-AD9AA85AD8B4}" type="presParOf" srcId="{BF12137C-14A3-2E46-A784-9AFCAB828D6C}" destId="{4DBD36D8-829A-4B44-A43B-2FF0B5D40880}" srcOrd="11" destOrd="0" presId="urn:microsoft.com/office/officeart/2008/layout/VerticalCurvedList"/>
    <dgm:cxn modelId="{9E24D9FF-0D4E-4B11-8FC7-C1771A48DBED}" type="presParOf" srcId="{BF12137C-14A3-2E46-A784-9AFCAB828D6C}" destId="{9B6DF6BC-DBF1-8445-BDF4-7B275B3E9505}" srcOrd="12" destOrd="0" presId="urn:microsoft.com/office/officeart/2008/layout/VerticalCurvedList"/>
    <dgm:cxn modelId="{1853138A-DFBE-4B02-8A33-31F2A6678312}" type="presParOf" srcId="{9B6DF6BC-DBF1-8445-BDF4-7B275B3E9505}" destId="{0C1DB10A-E691-F746-BD0C-B70BC01D07D3}" srcOrd="0" destOrd="0" presId="urn:microsoft.com/office/officeart/2008/layout/VerticalCurvedList"/>
    <dgm:cxn modelId="{3539A997-2CA9-4956-961E-E0F9E92E05B5}" type="presParOf" srcId="{BF12137C-14A3-2E46-A784-9AFCAB828D6C}" destId="{D90FB75F-6B62-4AE5-BA54-2ED0B89DC438}" srcOrd="13" destOrd="0" presId="urn:microsoft.com/office/officeart/2008/layout/VerticalCurvedList"/>
    <dgm:cxn modelId="{15608D1D-98E4-46E3-8E4C-D678A27C1C99}" type="presParOf" srcId="{BF12137C-14A3-2E46-A784-9AFCAB828D6C}" destId="{6C2A1DE1-65C4-4130-B1C0-3EFA5D7E989A}" srcOrd="14" destOrd="0" presId="urn:microsoft.com/office/officeart/2008/layout/VerticalCurvedList"/>
    <dgm:cxn modelId="{250F1401-8442-4AF6-8346-06CCE32095FE}" type="presParOf" srcId="{6C2A1DE1-65C4-4130-B1C0-3EFA5D7E989A}" destId="{6C7E0959-C83F-4054-B463-D90CE177EFB3}"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2DAF4BBD-EFB7-9A48-8299-7DF046A95DAE}" type="doc">
      <dgm:prSet loTypeId="urn:microsoft.com/office/officeart/2005/8/layout/hierarchy2" loCatId="" qsTypeId="urn:microsoft.com/office/officeart/2005/8/quickstyle/simple1" qsCatId="simple" csTypeId="urn:microsoft.com/office/officeart/2005/8/colors/accent0_1" csCatId="mainScheme" phldr="1"/>
      <dgm:spPr/>
      <dgm:t>
        <a:bodyPr/>
        <a:lstStyle/>
        <a:p>
          <a:endParaRPr lang="en-US"/>
        </a:p>
      </dgm:t>
    </dgm:pt>
    <dgm:pt modelId="{AE6D0EC3-E7A6-D045-8AB3-B0296302B3C8}">
      <dgm:prSet phldrT="[Text]"/>
      <dgm:spPr>
        <a:solidFill>
          <a:srgbClr val="D5D5D5"/>
        </a:solidFill>
        <a:ln w="12700"/>
      </dgm:spPr>
      <dgm:t>
        <a:bodyPr/>
        <a:lstStyle/>
        <a:p>
          <a:r>
            <a:rPr lang="en-US"/>
            <a:t>More Epochs</a:t>
          </a:r>
        </a:p>
      </dgm:t>
    </dgm:pt>
    <dgm:pt modelId="{5AE40FCC-7755-E043-9AA7-75A897154F29}" type="parTrans" cxnId="{8802497C-9BB2-9B4D-95FA-75518E50D8B3}">
      <dgm:prSet/>
      <dgm:spPr/>
      <dgm:t>
        <a:bodyPr/>
        <a:lstStyle/>
        <a:p>
          <a:endParaRPr lang="en-US"/>
        </a:p>
      </dgm:t>
    </dgm:pt>
    <dgm:pt modelId="{25A90E26-FCCF-174A-9162-E3270CA9F41C}" type="sibTrans" cxnId="{8802497C-9BB2-9B4D-95FA-75518E50D8B3}">
      <dgm:prSet/>
      <dgm:spPr/>
      <dgm:t>
        <a:bodyPr/>
        <a:lstStyle/>
        <a:p>
          <a:endParaRPr lang="en-US"/>
        </a:p>
      </dgm:t>
    </dgm:pt>
    <dgm:pt modelId="{8E33786C-5288-844C-9E85-9F1174597C6C}">
      <dgm:prSet phldrT="[Text]"/>
      <dgm:spPr>
        <a:solidFill>
          <a:srgbClr val="D5D5D5"/>
        </a:solidFill>
        <a:ln w="12700"/>
      </dgm:spPr>
      <dgm:t>
        <a:bodyPr/>
        <a:lstStyle/>
        <a:p>
          <a:r>
            <a:rPr lang="en-US"/>
            <a:t>Early Stopping</a:t>
          </a:r>
        </a:p>
      </dgm:t>
    </dgm:pt>
    <dgm:pt modelId="{2208AA59-BB78-D143-9507-48EBC648E503}" type="parTrans" cxnId="{F3899365-8A7A-6F4F-B8B4-2F39B6FD8EE9}">
      <dgm:prSet/>
      <dgm:spPr/>
      <dgm:t>
        <a:bodyPr/>
        <a:lstStyle/>
        <a:p>
          <a:endParaRPr lang="en-US"/>
        </a:p>
      </dgm:t>
    </dgm:pt>
    <dgm:pt modelId="{BC82E9BE-759C-2A43-A566-B1EA37C80065}" type="sibTrans" cxnId="{F3899365-8A7A-6F4F-B8B4-2F39B6FD8EE9}">
      <dgm:prSet/>
      <dgm:spPr/>
      <dgm:t>
        <a:bodyPr/>
        <a:lstStyle/>
        <a:p>
          <a:endParaRPr lang="en-US"/>
        </a:p>
      </dgm:t>
    </dgm:pt>
    <dgm:pt modelId="{22E819D1-6F5E-E442-B1D0-0CA8184253F7}">
      <dgm:prSet phldrT="[Text]"/>
      <dgm:spPr>
        <a:solidFill>
          <a:srgbClr val="D5D5D5"/>
        </a:solidFill>
        <a:ln w="12700"/>
      </dgm:spPr>
      <dgm:t>
        <a:bodyPr/>
        <a:lstStyle/>
        <a:p>
          <a:r>
            <a:rPr lang="en-US"/>
            <a:t>Data Augmentation</a:t>
          </a:r>
        </a:p>
      </dgm:t>
    </dgm:pt>
    <dgm:pt modelId="{97383EDB-4208-914D-B6AC-4B64C57ADCFF}" type="parTrans" cxnId="{AA24C1DC-51A9-2044-9FC3-2372C6889113}">
      <dgm:prSet/>
      <dgm:spPr/>
      <dgm:t>
        <a:bodyPr/>
        <a:lstStyle/>
        <a:p>
          <a:endParaRPr lang="en-US"/>
        </a:p>
      </dgm:t>
    </dgm:pt>
    <dgm:pt modelId="{26FAE4BB-4862-BB41-928B-A1CF0A3C93D5}" type="sibTrans" cxnId="{AA24C1DC-51A9-2044-9FC3-2372C6889113}">
      <dgm:prSet/>
      <dgm:spPr/>
      <dgm:t>
        <a:bodyPr/>
        <a:lstStyle/>
        <a:p>
          <a:endParaRPr lang="en-US"/>
        </a:p>
      </dgm:t>
    </dgm:pt>
    <dgm:pt modelId="{5041762C-0FAA-5045-8BEB-CBE937486934}">
      <dgm:prSet phldrT="[Text]"/>
      <dgm:spPr>
        <a:ln w="12700">
          <a:prstDash val="sysDot"/>
        </a:ln>
      </dgm:spPr>
      <dgm:t>
        <a:bodyPr/>
        <a:lstStyle/>
        <a:p>
          <a:pPr algn="ctr"/>
          <a:r>
            <a:rPr lang="en-US"/>
            <a:t>Random Horizontal Flipping</a:t>
          </a:r>
        </a:p>
      </dgm:t>
    </dgm:pt>
    <dgm:pt modelId="{1F332150-248E-154B-B081-906899427A6E}" type="parTrans" cxnId="{A17A7555-AAEA-D64F-A690-EFBF2E8EA5BD}">
      <dgm:prSet/>
      <dgm:spPr>
        <a:ln w="12700"/>
      </dgm:spPr>
      <dgm:t>
        <a:bodyPr/>
        <a:lstStyle/>
        <a:p>
          <a:endParaRPr lang="en-US"/>
        </a:p>
      </dgm:t>
    </dgm:pt>
    <dgm:pt modelId="{ED18179C-0F31-F648-9730-A68C6A2E7E55}" type="sibTrans" cxnId="{A17A7555-AAEA-D64F-A690-EFBF2E8EA5BD}">
      <dgm:prSet/>
      <dgm:spPr/>
      <dgm:t>
        <a:bodyPr/>
        <a:lstStyle/>
        <a:p>
          <a:endParaRPr lang="en-US"/>
        </a:p>
      </dgm:t>
    </dgm:pt>
    <dgm:pt modelId="{AC8E7823-8A7E-2240-BBB7-84C766BDEB91}">
      <dgm:prSet phldrT="[Text]"/>
      <dgm:spPr>
        <a:ln w="12700">
          <a:prstDash val="sysDot"/>
        </a:ln>
      </dgm:spPr>
      <dgm:t>
        <a:bodyPr/>
        <a:lstStyle/>
        <a:p>
          <a:pPr algn="ctr"/>
          <a:r>
            <a:rPr lang="en-US"/>
            <a:t>Random Rotation</a:t>
          </a:r>
        </a:p>
      </dgm:t>
    </dgm:pt>
    <dgm:pt modelId="{74CFF98C-94BB-8641-9022-7E22E08D2469}" type="parTrans" cxnId="{3E4A5429-8BCA-944D-AB8D-720FA5999758}">
      <dgm:prSet/>
      <dgm:spPr>
        <a:ln w="12700"/>
      </dgm:spPr>
      <dgm:t>
        <a:bodyPr/>
        <a:lstStyle/>
        <a:p>
          <a:endParaRPr lang="en-US"/>
        </a:p>
      </dgm:t>
    </dgm:pt>
    <dgm:pt modelId="{615EEF69-52A3-1F40-BDCA-31FDC95C4760}" type="sibTrans" cxnId="{3E4A5429-8BCA-944D-AB8D-720FA5999758}">
      <dgm:prSet/>
      <dgm:spPr/>
      <dgm:t>
        <a:bodyPr/>
        <a:lstStyle/>
        <a:p>
          <a:endParaRPr lang="en-US"/>
        </a:p>
      </dgm:t>
    </dgm:pt>
    <dgm:pt modelId="{BB7FF6FE-797C-A44A-9D4C-CFDEEE968370}">
      <dgm:prSet phldrT="[Text]"/>
      <dgm:spPr>
        <a:ln w="12700">
          <a:prstDash val="sysDot"/>
        </a:ln>
      </dgm:spPr>
      <dgm:t>
        <a:bodyPr/>
        <a:lstStyle/>
        <a:p>
          <a:pPr algn="ctr"/>
          <a:r>
            <a:rPr lang="en-US"/>
            <a:t>Random Contrast</a:t>
          </a:r>
        </a:p>
      </dgm:t>
    </dgm:pt>
    <dgm:pt modelId="{3CE3F545-B057-374A-84F7-B2EB28713636}" type="parTrans" cxnId="{B11E9D09-882F-DE4A-A0DB-BD9AC54E36E0}">
      <dgm:prSet/>
      <dgm:spPr>
        <a:ln w="12700"/>
      </dgm:spPr>
      <dgm:t>
        <a:bodyPr/>
        <a:lstStyle/>
        <a:p>
          <a:endParaRPr lang="en-US"/>
        </a:p>
      </dgm:t>
    </dgm:pt>
    <dgm:pt modelId="{1659CE55-4891-D147-B81E-D28DB407D1A2}" type="sibTrans" cxnId="{B11E9D09-882F-DE4A-A0DB-BD9AC54E36E0}">
      <dgm:prSet/>
      <dgm:spPr/>
      <dgm:t>
        <a:bodyPr/>
        <a:lstStyle/>
        <a:p>
          <a:endParaRPr lang="en-US"/>
        </a:p>
      </dgm:t>
    </dgm:pt>
    <dgm:pt modelId="{7A4A313A-787E-D44E-9672-1ADC98137784}">
      <dgm:prSet phldrT="[Text]"/>
      <dgm:spPr>
        <a:ln w="12700">
          <a:prstDash val="sysDot"/>
        </a:ln>
      </dgm:spPr>
      <dgm:t>
        <a:bodyPr/>
        <a:lstStyle/>
        <a:p>
          <a:pPr algn="ctr"/>
          <a:r>
            <a:rPr lang="en-US"/>
            <a:t>Random Brightness</a:t>
          </a:r>
        </a:p>
      </dgm:t>
    </dgm:pt>
    <dgm:pt modelId="{561208C4-9533-2543-912A-CCB495E3ADDC}" type="parTrans" cxnId="{E7641AA6-C410-D741-BB3B-73156EDB9417}">
      <dgm:prSet/>
      <dgm:spPr>
        <a:ln w="12700"/>
      </dgm:spPr>
      <dgm:t>
        <a:bodyPr/>
        <a:lstStyle/>
        <a:p>
          <a:endParaRPr lang="en-US"/>
        </a:p>
      </dgm:t>
    </dgm:pt>
    <dgm:pt modelId="{E77B2878-3194-7341-B478-EF22FCF11484}" type="sibTrans" cxnId="{E7641AA6-C410-D741-BB3B-73156EDB9417}">
      <dgm:prSet/>
      <dgm:spPr/>
      <dgm:t>
        <a:bodyPr/>
        <a:lstStyle/>
        <a:p>
          <a:endParaRPr lang="en-US"/>
        </a:p>
      </dgm:t>
    </dgm:pt>
    <dgm:pt modelId="{DF0345FB-D31A-6C42-B0C2-A03A9B418B74}">
      <dgm:prSet phldrT="[Text]"/>
      <dgm:spPr>
        <a:ln w="12700">
          <a:prstDash val="sysDot"/>
        </a:ln>
      </dgm:spPr>
      <dgm:t>
        <a:bodyPr/>
        <a:lstStyle/>
        <a:p>
          <a:pPr algn="ctr"/>
          <a:r>
            <a:rPr lang="en-US"/>
            <a:t>Random Translation</a:t>
          </a:r>
        </a:p>
      </dgm:t>
    </dgm:pt>
    <dgm:pt modelId="{357E9776-9CAB-2944-B9E5-F706BCEBBCF8}" type="parTrans" cxnId="{E9B8FCF7-F332-2D4C-9EEF-15B53822B78F}">
      <dgm:prSet/>
      <dgm:spPr>
        <a:ln w="12700"/>
      </dgm:spPr>
      <dgm:t>
        <a:bodyPr/>
        <a:lstStyle/>
        <a:p>
          <a:endParaRPr lang="en-US"/>
        </a:p>
      </dgm:t>
    </dgm:pt>
    <dgm:pt modelId="{5EFB5E0A-DBBB-624C-A0B0-A9B342C578A9}" type="sibTrans" cxnId="{E9B8FCF7-F332-2D4C-9EEF-15B53822B78F}">
      <dgm:prSet/>
      <dgm:spPr/>
      <dgm:t>
        <a:bodyPr/>
        <a:lstStyle/>
        <a:p>
          <a:endParaRPr lang="en-US"/>
        </a:p>
      </dgm:t>
    </dgm:pt>
    <dgm:pt modelId="{1A4E3B01-8B28-D04D-BF84-EAB39B31CBB7}">
      <dgm:prSet phldrT="[Text]"/>
      <dgm:spPr>
        <a:ln w="12700">
          <a:prstDash val="sysDot"/>
        </a:ln>
      </dgm:spPr>
      <dgm:t>
        <a:bodyPr/>
        <a:lstStyle/>
        <a:p>
          <a:pPr algn="ctr"/>
          <a:r>
            <a:rPr lang="en-US"/>
            <a:t>Monitoring validation loss</a:t>
          </a:r>
        </a:p>
        <a:p>
          <a:pPr algn="ctr"/>
          <a:r>
            <a:rPr lang="en-US"/>
            <a:t> with patience = 3</a:t>
          </a:r>
        </a:p>
      </dgm:t>
    </dgm:pt>
    <dgm:pt modelId="{7A3E218D-3D08-0746-97E6-237F4F5CB815}" type="parTrans" cxnId="{25296D1B-686A-9A40-B16E-32DCA29ED994}">
      <dgm:prSet/>
      <dgm:spPr>
        <a:ln w="12700"/>
      </dgm:spPr>
      <dgm:t>
        <a:bodyPr/>
        <a:lstStyle/>
        <a:p>
          <a:endParaRPr lang="en-US"/>
        </a:p>
      </dgm:t>
    </dgm:pt>
    <dgm:pt modelId="{0C6021E1-200D-5B4B-AA17-733FEE1D745B}" type="sibTrans" cxnId="{25296D1B-686A-9A40-B16E-32DCA29ED994}">
      <dgm:prSet/>
      <dgm:spPr/>
      <dgm:t>
        <a:bodyPr/>
        <a:lstStyle/>
        <a:p>
          <a:endParaRPr lang="en-US"/>
        </a:p>
      </dgm:t>
    </dgm:pt>
    <dgm:pt modelId="{57A77E14-0104-CB4E-A025-C69028049923}">
      <dgm:prSet phldrT="[Text]"/>
      <dgm:spPr>
        <a:ln w="12700">
          <a:prstDash val="sysDot"/>
        </a:ln>
      </dgm:spPr>
      <dgm:t>
        <a:bodyPr/>
        <a:lstStyle/>
        <a:p>
          <a:pPr algn="ctr"/>
          <a:r>
            <a:rPr lang="en-US"/>
            <a:t>100 Epochs instead of only 10</a:t>
          </a:r>
        </a:p>
      </dgm:t>
    </dgm:pt>
    <dgm:pt modelId="{F753E6C5-16A1-EC4B-9327-EDE6FE299900}" type="parTrans" cxnId="{98B0EF7B-F542-E94D-9460-54CD58E04146}">
      <dgm:prSet/>
      <dgm:spPr>
        <a:ln w="12700"/>
      </dgm:spPr>
      <dgm:t>
        <a:bodyPr/>
        <a:lstStyle/>
        <a:p>
          <a:endParaRPr lang="en-US"/>
        </a:p>
      </dgm:t>
    </dgm:pt>
    <dgm:pt modelId="{F54481B6-CD36-094A-AF0D-EBD8B99677D9}" type="sibTrans" cxnId="{98B0EF7B-F542-E94D-9460-54CD58E04146}">
      <dgm:prSet/>
      <dgm:spPr/>
      <dgm:t>
        <a:bodyPr/>
        <a:lstStyle/>
        <a:p>
          <a:endParaRPr lang="en-US"/>
        </a:p>
      </dgm:t>
    </dgm:pt>
    <dgm:pt modelId="{BE89600E-7229-2241-A6CA-F9E3C89E8655}" type="pres">
      <dgm:prSet presAssocID="{2DAF4BBD-EFB7-9A48-8299-7DF046A95DAE}" presName="diagram" presStyleCnt="0">
        <dgm:presLayoutVars>
          <dgm:chPref val="1"/>
          <dgm:dir/>
          <dgm:animOne val="branch"/>
          <dgm:animLvl val="lvl"/>
          <dgm:resizeHandles val="exact"/>
        </dgm:presLayoutVars>
      </dgm:prSet>
      <dgm:spPr/>
    </dgm:pt>
    <dgm:pt modelId="{AEF36EE5-CDCF-364F-972F-73AA0BFA433E}" type="pres">
      <dgm:prSet presAssocID="{22E819D1-6F5E-E442-B1D0-0CA8184253F7}" presName="root1" presStyleCnt="0"/>
      <dgm:spPr/>
    </dgm:pt>
    <dgm:pt modelId="{9316FDD8-872F-EA44-BC31-9A613B4F3255}" type="pres">
      <dgm:prSet presAssocID="{22E819D1-6F5E-E442-B1D0-0CA8184253F7}" presName="LevelOneTextNode" presStyleLbl="node0" presStyleIdx="0" presStyleCnt="3">
        <dgm:presLayoutVars>
          <dgm:chPref val="3"/>
        </dgm:presLayoutVars>
      </dgm:prSet>
      <dgm:spPr/>
    </dgm:pt>
    <dgm:pt modelId="{8B49AF26-3242-DE4C-BB34-56F6BE523C23}" type="pres">
      <dgm:prSet presAssocID="{22E819D1-6F5E-E442-B1D0-0CA8184253F7}" presName="level2hierChild" presStyleCnt="0"/>
      <dgm:spPr/>
    </dgm:pt>
    <dgm:pt modelId="{6B26A4A9-C65E-B849-AA1F-82D89F129B6E}" type="pres">
      <dgm:prSet presAssocID="{1F332150-248E-154B-B081-906899427A6E}" presName="conn2-1" presStyleLbl="parChTrans1D2" presStyleIdx="0" presStyleCnt="7"/>
      <dgm:spPr/>
    </dgm:pt>
    <dgm:pt modelId="{1FA5D7C7-1018-294C-A438-815D40CDDAA7}" type="pres">
      <dgm:prSet presAssocID="{1F332150-248E-154B-B081-906899427A6E}" presName="connTx" presStyleLbl="parChTrans1D2" presStyleIdx="0" presStyleCnt="7"/>
      <dgm:spPr/>
    </dgm:pt>
    <dgm:pt modelId="{DFD41DF3-60A9-714A-B47C-CDE1708C5710}" type="pres">
      <dgm:prSet presAssocID="{5041762C-0FAA-5045-8BEB-CBE937486934}" presName="root2" presStyleCnt="0"/>
      <dgm:spPr/>
    </dgm:pt>
    <dgm:pt modelId="{A91BF052-F138-3147-A5C5-C502BE45B08F}" type="pres">
      <dgm:prSet presAssocID="{5041762C-0FAA-5045-8BEB-CBE937486934}" presName="LevelTwoTextNode" presStyleLbl="node2" presStyleIdx="0" presStyleCnt="7" custScaleX="207553">
        <dgm:presLayoutVars>
          <dgm:chPref val="3"/>
        </dgm:presLayoutVars>
      </dgm:prSet>
      <dgm:spPr/>
    </dgm:pt>
    <dgm:pt modelId="{D515D3D4-EBCD-E344-AAB6-DA4345B463EB}" type="pres">
      <dgm:prSet presAssocID="{5041762C-0FAA-5045-8BEB-CBE937486934}" presName="level3hierChild" presStyleCnt="0"/>
      <dgm:spPr/>
    </dgm:pt>
    <dgm:pt modelId="{C8E6C50F-C079-7745-9765-1B439824A3F9}" type="pres">
      <dgm:prSet presAssocID="{74CFF98C-94BB-8641-9022-7E22E08D2469}" presName="conn2-1" presStyleLbl="parChTrans1D2" presStyleIdx="1" presStyleCnt="7"/>
      <dgm:spPr/>
    </dgm:pt>
    <dgm:pt modelId="{3F1749A4-7DF3-E547-B6D0-3AA647C0FC04}" type="pres">
      <dgm:prSet presAssocID="{74CFF98C-94BB-8641-9022-7E22E08D2469}" presName="connTx" presStyleLbl="parChTrans1D2" presStyleIdx="1" presStyleCnt="7"/>
      <dgm:spPr/>
    </dgm:pt>
    <dgm:pt modelId="{78C6E632-0FF0-DD42-8C12-E0601EF89939}" type="pres">
      <dgm:prSet presAssocID="{AC8E7823-8A7E-2240-BBB7-84C766BDEB91}" presName="root2" presStyleCnt="0"/>
      <dgm:spPr/>
    </dgm:pt>
    <dgm:pt modelId="{80BDAAB5-E8DA-A24A-B2B3-2FE7DC97A2EE}" type="pres">
      <dgm:prSet presAssocID="{AC8E7823-8A7E-2240-BBB7-84C766BDEB91}" presName="LevelTwoTextNode" presStyleLbl="node2" presStyleIdx="1" presStyleCnt="7" custScaleX="207553">
        <dgm:presLayoutVars>
          <dgm:chPref val="3"/>
        </dgm:presLayoutVars>
      </dgm:prSet>
      <dgm:spPr/>
    </dgm:pt>
    <dgm:pt modelId="{964392E8-FB59-A84F-BEE1-142AA8B3A92F}" type="pres">
      <dgm:prSet presAssocID="{AC8E7823-8A7E-2240-BBB7-84C766BDEB91}" presName="level3hierChild" presStyleCnt="0"/>
      <dgm:spPr/>
    </dgm:pt>
    <dgm:pt modelId="{156175B4-C4FE-484F-B6B4-0630C84E9C24}" type="pres">
      <dgm:prSet presAssocID="{3CE3F545-B057-374A-84F7-B2EB28713636}" presName="conn2-1" presStyleLbl="parChTrans1D2" presStyleIdx="2" presStyleCnt="7"/>
      <dgm:spPr/>
    </dgm:pt>
    <dgm:pt modelId="{2AA2AABB-58C6-5949-B0DB-6D5C2A7CE1A7}" type="pres">
      <dgm:prSet presAssocID="{3CE3F545-B057-374A-84F7-B2EB28713636}" presName="connTx" presStyleLbl="parChTrans1D2" presStyleIdx="2" presStyleCnt="7"/>
      <dgm:spPr/>
    </dgm:pt>
    <dgm:pt modelId="{3FDC98D5-D2B1-D243-8A1A-EB584458C86D}" type="pres">
      <dgm:prSet presAssocID="{BB7FF6FE-797C-A44A-9D4C-CFDEEE968370}" presName="root2" presStyleCnt="0"/>
      <dgm:spPr/>
    </dgm:pt>
    <dgm:pt modelId="{86CFBC85-1771-7343-A37E-3353824A39E5}" type="pres">
      <dgm:prSet presAssocID="{BB7FF6FE-797C-A44A-9D4C-CFDEEE968370}" presName="LevelTwoTextNode" presStyleLbl="node2" presStyleIdx="2" presStyleCnt="7" custScaleX="207553">
        <dgm:presLayoutVars>
          <dgm:chPref val="3"/>
        </dgm:presLayoutVars>
      </dgm:prSet>
      <dgm:spPr/>
    </dgm:pt>
    <dgm:pt modelId="{B9985F90-E938-824D-A064-2A7311267E66}" type="pres">
      <dgm:prSet presAssocID="{BB7FF6FE-797C-A44A-9D4C-CFDEEE968370}" presName="level3hierChild" presStyleCnt="0"/>
      <dgm:spPr/>
    </dgm:pt>
    <dgm:pt modelId="{F33EFA89-C3CF-844D-B8F5-656013CE8860}" type="pres">
      <dgm:prSet presAssocID="{561208C4-9533-2543-912A-CCB495E3ADDC}" presName="conn2-1" presStyleLbl="parChTrans1D2" presStyleIdx="3" presStyleCnt="7"/>
      <dgm:spPr/>
    </dgm:pt>
    <dgm:pt modelId="{1B3013AB-06E2-D34E-8859-6598ED9B26E5}" type="pres">
      <dgm:prSet presAssocID="{561208C4-9533-2543-912A-CCB495E3ADDC}" presName="connTx" presStyleLbl="parChTrans1D2" presStyleIdx="3" presStyleCnt="7"/>
      <dgm:spPr/>
    </dgm:pt>
    <dgm:pt modelId="{BA61C7DA-3A51-AF44-953C-B1CFADAC2047}" type="pres">
      <dgm:prSet presAssocID="{7A4A313A-787E-D44E-9672-1ADC98137784}" presName="root2" presStyleCnt="0"/>
      <dgm:spPr/>
    </dgm:pt>
    <dgm:pt modelId="{6F3DD340-3A24-AC4E-B181-C736346881E5}" type="pres">
      <dgm:prSet presAssocID="{7A4A313A-787E-D44E-9672-1ADC98137784}" presName="LevelTwoTextNode" presStyleLbl="node2" presStyleIdx="3" presStyleCnt="7" custScaleX="207553">
        <dgm:presLayoutVars>
          <dgm:chPref val="3"/>
        </dgm:presLayoutVars>
      </dgm:prSet>
      <dgm:spPr/>
    </dgm:pt>
    <dgm:pt modelId="{4B1C90F7-7F92-814D-96B3-63C5EB649C3A}" type="pres">
      <dgm:prSet presAssocID="{7A4A313A-787E-D44E-9672-1ADC98137784}" presName="level3hierChild" presStyleCnt="0"/>
      <dgm:spPr/>
    </dgm:pt>
    <dgm:pt modelId="{87EBF2E3-4441-C44D-B465-DBEFDB3995B0}" type="pres">
      <dgm:prSet presAssocID="{357E9776-9CAB-2944-B9E5-F706BCEBBCF8}" presName="conn2-1" presStyleLbl="parChTrans1D2" presStyleIdx="4" presStyleCnt="7"/>
      <dgm:spPr/>
    </dgm:pt>
    <dgm:pt modelId="{05FB8D24-7AAF-5B4F-9921-5708F2B2594A}" type="pres">
      <dgm:prSet presAssocID="{357E9776-9CAB-2944-B9E5-F706BCEBBCF8}" presName="connTx" presStyleLbl="parChTrans1D2" presStyleIdx="4" presStyleCnt="7"/>
      <dgm:spPr/>
    </dgm:pt>
    <dgm:pt modelId="{C4E96CA2-A799-DB4E-A4CA-D6339208C72D}" type="pres">
      <dgm:prSet presAssocID="{DF0345FB-D31A-6C42-B0C2-A03A9B418B74}" presName="root2" presStyleCnt="0"/>
      <dgm:spPr/>
    </dgm:pt>
    <dgm:pt modelId="{06EF309D-A05E-8440-9447-8E0652C9938E}" type="pres">
      <dgm:prSet presAssocID="{DF0345FB-D31A-6C42-B0C2-A03A9B418B74}" presName="LevelTwoTextNode" presStyleLbl="node2" presStyleIdx="4" presStyleCnt="7" custScaleX="207553">
        <dgm:presLayoutVars>
          <dgm:chPref val="3"/>
        </dgm:presLayoutVars>
      </dgm:prSet>
      <dgm:spPr/>
    </dgm:pt>
    <dgm:pt modelId="{ACFEA204-12BF-2A42-A46F-6012E2C1868C}" type="pres">
      <dgm:prSet presAssocID="{DF0345FB-D31A-6C42-B0C2-A03A9B418B74}" presName="level3hierChild" presStyleCnt="0"/>
      <dgm:spPr/>
    </dgm:pt>
    <dgm:pt modelId="{C986173D-B6CA-2A48-9E93-11C63FD43536}" type="pres">
      <dgm:prSet presAssocID="{AE6D0EC3-E7A6-D045-8AB3-B0296302B3C8}" presName="root1" presStyleCnt="0"/>
      <dgm:spPr/>
    </dgm:pt>
    <dgm:pt modelId="{82151661-3278-AC41-97E0-24581590B11E}" type="pres">
      <dgm:prSet presAssocID="{AE6D0EC3-E7A6-D045-8AB3-B0296302B3C8}" presName="LevelOneTextNode" presStyleLbl="node0" presStyleIdx="1" presStyleCnt="3">
        <dgm:presLayoutVars>
          <dgm:chPref val="3"/>
        </dgm:presLayoutVars>
      </dgm:prSet>
      <dgm:spPr/>
    </dgm:pt>
    <dgm:pt modelId="{E0DB2F7E-6896-BE41-B081-AE60455179CB}" type="pres">
      <dgm:prSet presAssocID="{AE6D0EC3-E7A6-D045-8AB3-B0296302B3C8}" presName="level2hierChild" presStyleCnt="0"/>
      <dgm:spPr/>
    </dgm:pt>
    <dgm:pt modelId="{C1B782B6-8491-E448-9003-0B1725918558}" type="pres">
      <dgm:prSet presAssocID="{F753E6C5-16A1-EC4B-9327-EDE6FE299900}" presName="conn2-1" presStyleLbl="parChTrans1D2" presStyleIdx="5" presStyleCnt="7"/>
      <dgm:spPr/>
    </dgm:pt>
    <dgm:pt modelId="{64E5F9E2-5ED7-9B46-8B16-08129E7F6901}" type="pres">
      <dgm:prSet presAssocID="{F753E6C5-16A1-EC4B-9327-EDE6FE299900}" presName="connTx" presStyleLbl="parChTrans1D2" presStyleIdx="5" presStyleCnt="7"/>
      <dgm:spPr/>
    </dgm:pt>
    <dgm:pt modelId="{F5EC76F4-47EB-E746-9598-F9A0F1C1A32D}" type="pres">
      <dgm:prSet presAssocID="{57A77E14-0104-CB4E-A025-C69028049923}" presName="root2" presStyleCnt="0"/>
      <dgm:spPr/>
    </dgm:pt>
    <dgm:pt modelId="{FA2F917F-A778-6E40-A6A2-326312421619}" type="pres">
      <dgm:prSet presAssocID="{57A77E14-0104-CB4E-A025-C69028049923}" presName="LevelTwoTextNode" presStyleLbl="node2" presStyleIdx="5" presStyleCnt="7" custScaleX="207553">
        <dgm:presLayoutVars>
          <dgm:chPref val="3"/>
        </dgm:presLayoutVars>
      </dgm:prSet>
      <dgm:spPr/>
    </dgm:pt>
    <dgm:pt modelId="{E72CF8F4-F4C4-B54E-A8BD-FFC080FC3FB2}" type="pres">
      <dgm:prSet presAssocID="{57A77E14-0104-CB4E-A025-C69028049923}" presName="level3hierChild" presStyleCnt="0"/>
      <dgm:spPr/>
    </dgm:pt>
    <dgm:pt modelId="{4A0C4D72-A0E1-4B41-B9E2-8516946458AD}" type="pres">
      <dgm:prSet presAssocID="{8E33786C-5288-844C-9E85-9F1174597C6C}" presName="root1" presStyleCnt="0"/>
      <dgm:spPr/>
    </dgm:pt>
    <dgm:pt modelId="{973D98EC-B6C3-EE43-BF98-66E290A8CF80}" type="pres">
      <dgm:prSet presAssocID="{8E33786C-5288-844C-9E85-9F1174597C6C}" presName="LevelOneTextNode" presStyleLbl="node0" presStyleIdx="2" presStyleCnt="3">
        <dgm:presLayoutVars>
          <dgm:chPref val="3"/>
        </dgm:presLayoutVars>
      </dgm:prSet>
      <dgm:spPr/>
    </dgm:pt>
    <dgm:pt modelId="{1FEE0603-5ED6-9347-81FE-E56668B63256}" type="pres">
      <dgm:prSet presAssocID="{8E33786C-5288-844C-9E85-9F1174597C6C}" presName="level2hierChild" presStyleCnt="0"/>
      <dgm:spPr/>
    </dgm:pt>
    <dgm:pt modelId="{30CA4377-8D46-3B40-9738-1063EC96EC0D}" type="pres">
      <dgm:prSet presAssocID="{7A3E218D-3D08-0746-97E6-237F4F5CB815}" presName="conn2-1" presStyleLbl="parChTrans1D2" presStyleIdx="6" presStyleCnt="7"/>
      <dgm:spPr/>
    </dgm:pt>
    <dgm:pt modelId="{2F6569F0-D6B7-5D40-AAE8-85C23CA6F927}" type="pres">
      <dgm:prSet presAssocID="{7A3E218D-3D08-0746-97E6-237F4F5CB815}" presName="connTx" presStyleLbl="parChTrans1D2" presStyleIdx="6" presStyleCnt="7"/>
      <dgm:spPr/>
    </dgm:pt>
    <dgm:pt modelId="{BAD87828-6BB2-7C47-ACF7-1D9857AE7FF8}" type="pres">
      <dgm:prSet presAssocID="{1A4E3B01-8B28-D04D-BF84-EAB39B31CBB7}" presName="root2" presStyleCnt="0"/>
      <dgm:spPr/>
    </dgm:pt>
    <dgm:pt modelId="{05929E7C-CD3F-7640-8C66-E284486EE659}" type="pres">
      <dgm:prSet presAssocID="{1A4E3B01-8B28-D04D-BF84-EAB39B31CBB7}" presName="LevelTwoTextNode" presStyleLbl="node2" presStyleIdx="6" presStyleCnt="7" custScaleX="207553">
        <dgm:presLayoutVars>
          <dgm:chPref val="3"/>
        </dgm:presLayoutVars>
      </dgm:prSet>
      <dgm:spPr/>
    </dgm:pt>
    <dgm:pt modelId="{1CC5488A-23A0-634E-A16B-69D3EF8A9375}" type="pres">
      <dgm:prSet presAssocID="{1A4E3B01-8B28-D04D-BF84-EAB39B31CBB7}" presName="level3hierChild" presStyleCnt="0"/>
      <dgm:spPr/>
    </dgm:pt>
  </dgm:ptLst>
  <dgm:cxnLst>
    <dgm:cxn modelId="{B4A70A01-3FB2-0048-A4B4-0A8A51626E26}" type="presOf" srcId="{AC8E7823-8A7E-2240-BBB7-84C766BDEB91}" destId="{80BDAAB5-E8DA-A24A-B2B3-2FE7DC97A2EE}" srcOrd="0" destOrd="0" presId="urn:microsoft.com/office/officeart/2005/8/layout/hierarchy2"/>
    <dgm:cxn modelId="{DA608A01-3527-ED49-8BFD-D28BDC83E191}" type="presOf" srcId="{3CE3F545-B057-374A-84F7-B2EB28713636}" destId="{156175B4-C4FE-484F-B6B4-0630C84E9C24}" srcOrd="0" destOrd="0" presId="urn:microsoft.com/office/officeart/2005/8/layout/hierarchy2"/>
    <dgm:cxn modelId="{9C5A8008-B6CE-2E43-BDE2-A4238BE42DDF}" type="presOf" srcId="{1F332150-248E-154B-B081-906899427A6E}" destId="{1FA5D7C7-1018-294C-A438-815D40CDDAA7}" srcOrd="1" destOrd="0" presId="urn:microsoft.com/office/officeart/2005/8/layout/hierarchy2"/>
    <dgm:cxn modelId="{B11E9D09-882F-DE4A-A0DB-BD9AC54E36E0}" srcId="{22E819D1-6F5E-E442-B1D0-0CA8184253F7}" destId="{BB7FF6FE-797C-A44A-9D4C-CFDEEE968370}" srcOrd="2" destOrd="0" parTransId="{3CE3F545-B057-374A-84F7-B2EB28713636}" sibTransId="{1659CE55-4891-D147-B81E-D28DB407D1A2}"/>
    <dgm:cxn modelId="{6279AF0B-A0A5-1544-A645-EC41042E91EC}" type="presOf" srcId="{7A3E218D-3D08-0746-97E6-237F4F5CB815}" destId="{30CA4377-8D46-3B40-9738-1063EC96EC0D}" srcOrd="0" destOrd="0" presId="urn:microsoft.com/office/officeart/2005/8/layout/hierarchy2"/>
    <dgm:cxn modelId="{AC4B6112-98FD-A94B-83B0-C01E5CDAE7B5}" type="presOf" srcId="{8E33786C-5288-844C-9E85-9F1174597C6C}" destId="{973D98EC-B6C3-EE43-BF98-66E290A8CF80}" srcOrd="0" destOrd="0" presId="urn:microsoft.com/office/officeart/2005/8/layout/hierarchy2"/>
    <dgm:cxn modelId="{25296D1B-686A-9A40-B16E-32DCA29ED994}" srcId="{8E33786C-5288-844C-9E85-9F1174597C6C}" destId="{1A4E3B01-8B28-D04D-BF84-EAB39B31CBB7}" srcOrd="0" destOrd="0" parTransId="{7A3E218D-3D08-0746-97E6-237F4F5CB815}" sibTransId="{0C6021E1-200D-5B4B-AA17-733FEE1D745B}"/>
    <dgm:cxn modelId="{BAC2581F-AF8A-254E-B4B3-37106221DA59}" type="presOf" srcId="{74CFF98C-94BB-8641-9022-7E22E08D2469}" destId="{C8E6C50F-C079-7745-9765-1B439824A3F9}" srcOrd="0" destOrd="0" presId="urn:microsoft.com/office/officeart/2005/8/layout/hierarchy2"/>
    <dgm:cxn modelId="{9D186424-50AF-0241-A857-5D5A5FDDC727}" type="presOf" srcId="{357E9776-9CAB-2944-B9E5-F706BCEBBCF8}" destId="{05FB8D24-7AAF-5B4F-9921-5708F2B2594A}" srcOrd="1" destOrd="0" presId="urn:microsoft.com/office/officeart/2005/8/layout/hierarchy2"/>
    <dgm:cxn modelId="{3E4A5429-8BCA-944D-AB8D-720FA5999758}" srcId="{22E819D1-6F5E-E442-B1D0-0CA8184253F7}" destId="{AC8E7823-8A7E-2240-BBB7-84C766BDEB91}" srcOrd="1" destOrd="0" parTransId="{74CFF98C-94BB-8641-9022-7E22E08D2469}" sibTransId="{615EEF69-52A3-1F40-BDCA-31FDC95C4760}"/>
    <dgm:cxn modelId="{284E112A-A311-9E41-B2DD-DD798FE15A49}" type="presOf" srcId="{2DAF4BBD-EFB7-9A48-8299-7DF046A95DAE}" destId="{BE89600E-7229-2241-A6CA-F9E3C89E8655}" srcOrd="0" destOrd="0" presId="urn:microsoft.com/office/officeart/2005/8/layout/hierarchy2"/>
    <dgm:cxn modelId="{670C7E3D-2A29-9B4E-B456-027999FBE1C1}" type="presOf" srcId="{57A77E14-0104-CB4E-A025-C69028049923}" destId="{FA2F917F-A778-6E40-A6A2-326312421619}" srcOrd="0" destOrd="0" presId="urn:microsoft.com/office/officeart/2005/8/layout/hierarchy2"/>
    <dgm:cxn modelId="{AB20B340-90D4-194E-9659-E36CE3DC2FD5}" type="presOf" srcId="{357E9776-9CAB-2944-B9E5-F706BCEBBCF8}" destId="{87EBF2E3-4441-C44D-B465-DBEFDB3995B0}" srcOrd="0" destOrd="0" presId="urn:microsoft.com/office/officeart/2005/8/layout/hierarchy2"/>
    <dgm:cxn modelId="{6B9C0043-6C79-D74C-982D-AA4E5644D5DF}" type="presOf" srcId="{7A3E218D-3D08-0746-97E6-237F4F5CB815}" destId="{2F6569F0-D6B7-5D40-AAE8-85C23CA6F927}" srcOrd="1" destOrd="0" presId="urn:microsoft.com/office/officeart/2005/8/layout/hierarchy2"/>
    <dgm:cxn modelId="{F3899365-8A7A-6F4F-B8B4-2F39B6FD8EE9}" srcId="{2DAF4BBD-EFB7-9A48-8299-7DF046A95DAE}" destId="{8E33786C-5288-844C-9E85-9F1174597C6C}" srcOrd="2" destOrd="0" parTransId="{2208AA59-BB78-D143-9507-48EBC648E503}" sibTransId="{BC82E9BE-759C-2A43-A566-B1EA37C80065}"/>
    <dgm:cxn modelId="{065CD26A-DBBB-D640-ADC4-1AA45CADCE8A}" type="presOf" srcId="{F753E6C5-16A1-EC4B-9327-EDE6FE299900}" destId="{64E5F9E2-5ED7-9B46-8B16-08129E7F6901}" srcOrd="1" destOrd="0" presId="urn:microsoft.com/office/officeart/2005/8/layout/hierarchy2"/>
    <dgm:cxn modelId="{9492DC6E-06E8-8E4D-A4B1-858F110E213E}" type="presOf" srcId="{1F332150-248E-154B-B081-906899427A6E}" destId="{6B26A4A9-C65E-B849-AA1F-82D89F129B6E}" srcOrd="0" destOrd="0" presId="urn:microsoft.com/office/officeart/2005/8/layout/hierarchy2"/>
    <dgm:cxn modelId="{A17A7555-AAEA-D64F-A690-EFBF2E8EA5BD}" srcId="{22E819D1-6F5E-E442-B1D0-0CA8184253F7}" destId="{5041762C-0FAA-5045-8BEB-CBE937486934}" srcOrd="0" destOrd="0" parTransId="{1F332150-248E-154B-B081-906899427A6E}" sibTransId="{ED18179C-0F31-F648-9730-A68C6A2E7E55}"/>
    <dgm:cxn modelId="{98B0EF7B-F542-E94D-9460-54CD58E04146}" srcId="{AE6D0EC3-E7A6-D045-8AB3-B0296302B3C8}" destId="{57A77E14-0104-CB4E-A025-C69028049923}" srcOrd="0" destOrd="0" parTransId="{F753E6C5-16A1-EC4B-9327-EDE6FE299900}" sibTransId="{F54481B6-CD36-094A-AF0D-EBD8B99677D9}"/>
    <dgm:cxn modelId="{8802497C-9BB2-9B4D-95FA-75518E50D8B3}" srcId="{2DAF4BBD-EFB7-9A48-8299-7DF046A95DAE}" destId="{AE6D0EC3-E7A6-D045-8AB3-B0296302B3C8}" srcOrd="1" destOrd="0" parTransId="{5AE40FCC-7755-E043-9AA7-75A897154F29}" sibTransId="{25A90E26-FCCF-174A-9162-E3270CA9F41C}"/>
    <dgm:cxn modelId="{3585897F-BF4B-AC46-859A-2491D9D48854}" type="presOf" srcId="{F753E6C5-16A1-EC4B-9327-EDE6FE299900}" destId="{C1B782B6-8491-E448-9003-0B1725918558}" srcOrd="0" destOrd="0" presId="urn:microsoft.com/office/officeart/2005/8/layout/hierarchy2"/>
    <dgm:cxn modelId="{1836B581-01FE-4B42-8843-68D4C7B50521}" type="presOf" srcId="{DF0345FB-D31A-6C42-B0C2-A03A9B418B74}" destId="{06EF309D-A05E-8440-9447-8E0652C9938E}" srcOrd="0" destOrd="0" presId="urn:microsoft.com/office/officeart/2005/8/layout/hierarchy2"/>
    <dgm:cxn modelId="{A660A486-4AD8-6642-8D29-CD8E83881429}" type="presOf" srcId="{561208C4-9533-2543-912A-CCB495E3ADDC}" destId="{1B3013AB-06E2-D34E-8859-6598ED9B26E5}" srcOrd="1" destOrd="0" presId="urn:microsoft.com/office/officeart/2005/8/layout/hierarchy2"/>
    <dgm:cxn modelId="{9FB9E388-D340-5C4C-9F8D-C7F869D3976F}" type="presOf" srcId="{1A4E3B01-8B28-D04D-BF84-EAB39B31CBB7}" destId="{05929E7C-CD3F-7640-8C66-E284486EE659}" srcOrd="0" destOrd="0" presId="urn:microsoft.com/office/officeart/2005/8/layout/hierarchy2"/>
    <dgm:cxn modelId="{1680C08D-17C5-7E47-A9BC-5BDABE834D0A}" type="presOf" srcId="{74CFF98C-94BB-8641-9022-7E22E08D2469}" destId="{3F1749A4-7DF3-E547-B6D0-3AA647C0FC04}" srcOrd="1" destOrd="0" presId="urn:microsoft.com/office/officeart/2005/8/layout/hierarchy2"/>
    <dgm:cxn modelId="{96D9E18E-ACEC-734D-9ADE-66B2DC4B6FD7}" type="presOf" srcId="{561208C4-9533-2543-912A-CCB495E3ADDC}" destId="{F33EFA89-C3CF-844D-B8F5-656013CE8860}" srcOrd="0" destOrd="0" presId="urn:microsoft.com/office/officeart/2005/8/layout/hierarchy2"/>
    <dgm:cxn modelId="{97F3F69F-74FE-D64B-9743-DE1917D40431}" type="presOf" srcId="{3CE3F545-B057-374A-84F7-B2EB28713636}" destId="{2AA2AABB-58C6-5949-B0DB-6D5C2A7CE1A7}" srcOrd="1" destOrd="0" presId="urn:microsoft.com/office/officeart/2005/8/layout/hierarchy2"/>
    <dgm:cxn modelId="{AED5D1A2-F2E5-6245-BB8D-18D6C07AB948}" type="presOf" srcId="{7A4A313A-787E-D44E-9672-1ADC98137784}" destId="{6F3DD340-3A24-AC4E-B181-C736346881E5}" srcOrd="0" destOrd="0" presId="urn:microsoft.com/office/officeart/2005/8/layout/hierarchy2"/>
    <dgm:cxn modelId="{E7641AA6-C410-D741-BB3B-73156EDB9417}" srcId="{22E819D1-6F5E-E442-B1D0-0CA8184253F7}" destId="{7A4A313A-787E-D44E-9672-1ADC98137784}" srcOrd="3" destOrd="0" parTransId="{561208C4-9533-2543-912A-CCB495E3ADDC}" sibTransId="{E77B2878-3194-7341-B478-EF22FCF11484}"/>
    <dgm:cxn modelId="{E5BDD6B3-92BF-3743-944D-79F9567156BB}" type="presOf" srcId="{BB7FF6FE-797C-A44A-9D4C-CFDEEE968370}" destId="{86CFBC85-1771-7343-A37E-3353824A39E5}" srcOrd="0" destOrd="0" presId="urn:microsoft.com/office/officeart/2005/8/layout/hierarchy2"/>
    <dgm:cxn modelId="{5D8ED4BC-3361-0144-A78C-4CA4E68A8AA9}" type="presOf" srcId="{5041762C-0FAA-5045-8BEB-CBE937486934}" destId="{A91BF052-F138-3147-A5C5-C502BE45B08F}" srcOrd="0" destOrd="0" presId="urn:microsoft.com/office/officeart/2005/8/layout/hierarchy2"/>
    <dgm:cxn modelId="{AA24C1DC-51A9-2044-9FC3-2372C6889113}" srcId="{2DAF4BBD-EFB7-9A48-8299-7DF046A95DAE}" destId="{22E819D1-6F5E-E442-B1D0-0CA8184253F7}" srcOrd="0" destOrd="0" parTransId="{97383EDB-4208-914D-B6AC-4B64C57ADCFF}" sibTransId="{26FAE4BB-4862-BB41-928B-A1CF0A3C93D5}"/>
    <dgm:cxn modelId="{2A420BEF-5BA8-4145-9962-386375FFB719}" type="presOf" srcId="{22E819D1-6F5E-E442-B1D0-0CA8184253F7}" destId="{9316FDD8-872F-EA44-BC31-9A613B4F3255}" srcOrd="0" destOrd="0" presId="urn:microsoft.com/office/officeart/2005/8/layout/hierarchy2"/>
    <dgm:cxn modelId="{E9B8FCF7-F332-2D4C-9EEF-15B53822B78F}" srcId="{22E819D1-6F5E-E442-B1D0-0CA8184253F7}" destId="{DF0345FB-D31A-6C42-B0C2-A03A9B418B74}" srcOrd="4" destOrd="0" parTransId="{357E9776-9CAB-2944-B9E5-F706BCEBBCF8}" sibTransId="{5EFB5E0A-DBBB-624C-A0B0-A9B342C578A9}"/>
    <dgm:cxn modelId="{BCAC6CF8-EB50-0047-8A1D-1BC9C3EB3AB4}" type="presOf" srcId="{AE6D0EC3-E7A6-D045-8AB3-B0296302B3C8}" destId="{82151661-3278-AC41-97E0-24581590B11E}" srcOrd="0" destOrd="0" presId="urn:microsoft.com/office/officeart/2005/8/layout/hierarchy2"/>
    <dgm:cxn modelId="{53043A9B-4D2B-164E-9A33-0E951D96675B}" type="presParOf" srcId="{BE89600E-7229-2241-A6CA-F9E3C89E8655}" destId="{AEF36EE5-CDCF-364F-972F-73AA0BFA433E}" srcOrd="0" destOrd="0" presId="urn:microsoft.com/office/officeart/2005/8/layout/hierarchy2"/>
    <dgm:cxn modelId="{9232F4F7-C0D3-BE4A-A118-00C14A9CC9B6}" type="presParOf" srcId="{AEF36EE5-CDCF-364F-972F-73AA0BFA433E}" destId="{9316FDD8-872F-EA44-BC31-9A613B4F3255}" srcOrd="0" destOrd="0" presId="urn:microsoft.com/office/officeart/2005/8/layout/hierarchy2"/>
    <dgm:cxn modelId="{12532BF5-13EE-4D41-B85F-1A8F36B6402D}" type="presParOf" srcId="{AEF36EE5-CDCF-364F-972F-73AA0BFA433E}" destId="{8B49AF26-3242-DE4C-BB34-56F6BE523C23}" srcOrd="1" destOrd="0" presId="urn:microsoft.com/office/officeart/2005/8/layout/hierarchy2"/>
    <dgm:cxn modelId="{6E6D7C93-BB71-424E-A183-0200B131CF84}" type="presParOf" srcId="{8B49AF26-3242-DE4C-BB34-56F6BE523C23}" destId="{6B26A4A9-C65E-B849-AA1F-82D89F129B6E}" srcOrd="0" destOrd="0" presId="urn:microsoft.com/office/officeart/2005/8/layout/hierarchy2"/>
    <dgm:cxn modelId="{6630F114-B190-D54A-B200-1B433DA27CD7}" type="presParOf" srcId="{6B26A4A9-C65E-B849-AA1F-82D89F129B6E}" destId="{1FA5D7C7-1018-294C-A438-815D40CDDAA7}" srcOrd="0" destOrd="0" presId="urn:microsoft.com/office/officeart/2005/8/layout/hierarchy2"/>
    <dgm:cxn modelId="{5BC33D71-3D4C-564A-AD5E-CDB27DEE044F}" type="presParOf" srcId="{8B49AF26-3242-DE4C-BB34-56F6BE523C23}" destId="{DFD41DF3-60A9-714A-B47C-CDE1708C5710}" srcOrd="1" destOrd="0" presId="urn:microsoft.com/office/officeart/2005/8/layout/hierarchy2"/>
    <dgm:cxn modelId="{C31F74EE-F2B2-354B-AFB5-0DABE026BE73}" type="presParOf" srcId="{DFD41DF3-60A9-714A-B47C-CDE1708C5710}" destId="{A91BF052-F138-3147-A5C5-C502BE45B08F}" srcOrd="0" destOrd="0" presId="urn:microsoft.com/office/officeart/2005/8/layout/hierarchy2"/>
    <dgm:cxn modelId="{7A02C0B9-F88C-884E-855B-CBF01880FCD5}" type="presParOf" srcId="{DFD41DF3-60A9-714A-B47C-CDE1708C5710}" destId="{D515D3D4-EBCD-E344-AAB6-DA4345B463EB}" srcOrd="1" destOrd="0" presId="urn:microsoft.com/office/officeart/2005/8/layout/hierarchy2"/>
    <dgm:cxn modelId="{52E6836F-2E7D-0146-AA92-27C1CE2CE49B}" type="presParOf" srcId="{8B49AF26-3242-DE4C-BB34-56F6BE523C23}" destId="{C8E6C50F-C079-7745-9765-1B439824A3F9}" srcOrd="2" destOrd="0" presId="urn:microsoft.com/office/officeart/2005/8/layout/hierarchy2"/>
    <dgm:cxn modelId="{CDB77088-2AA6-524D-A452-D419465D848C}" type="presParOf" srcId="{C8E6C50F-C079-7745-9765-1B439824A3F9}" destId="{3F1749A4-7DF3-E547-B6D0-3AA647C0FC04}" srcOrd="0" destOrd="0" presId="urn:microsoft.com/office/officeart/2005/8/layout/hierarchy2"/>
    <dgm:cxn modelId="{824E7497-D55A-CD4F-8226-5D794A495D1E}" type="presParOf" srcId="{8B49AF26-3242-DE4C-BB34-56F6BE523C23}" destId="{78C6E632-0FF0-DD42-8C12-E0601EF89939}" srcOrd="3" destOrd="0" presId="urn:microsoft.com/office/officeart/2005/8/layout/hierarchy2"/>
    <dgm:cxn modelId="{47279701-6D43-144D-9775-931038C98EC5}" type="presParOf" srcId="{78C6E632-0FF0-DD42-8C12-E0601EF89939}" destId="{80BDAAB5-E8DA-A24A-B2B3-2FE7DC97A2EE}" srcOrd="0" destOrd="0" presId="urn:microsoft.com/office/officeart/2005/8/layout/hierarchy2"/>
    <dgm:cxn modelId="{85810103-015A-974D-B435-933619CF662D}" type="presParOf" srcId="{78C6E632-0FF0-DD42-8C12-E0601EF89939}" destId="{964392E8-FB59-A84F-BEE1-142AA8B3A92F}" srcOrd="1" destOrd="0" presId="urn:microsoft.com/office/officeart/2005/8/layout/hierarchy2"/>
    <dgm:cxn modelId="{58CE4DDD-A84B-7843-A744-6C13B108E706}" type="presParOf" srcId="{8B49AF26-3242-DE4C-BB34-56F6BE523C23}" destId="{156175B4-C4FE-484F-B6B4-0630C84E9C24}" srcOrd="4" destOrd="0" presId="urn:microsoft.com/office/officeart/2005/8/layout/hierarchy2"/>
    <dgm:cxn modelId="{C42ABE89-94A7-2C48-9F49-FC6B83AFFACF}" type="presParOf" srcId="{156175B4-C4FE-484F-B6B4-0630C84E9C24}" destId="{2AA2AABB-58C6-5949-B0DB-6D5C2A7CE1A7}" srcOrd="0" destOrd="0" presId="urn:microsoft.com/office/officeart/2005/8/layout/hierarchy2"/>
    <dgm:cxn modelId="{7745E0C6-5F98-3941-B2F0-B46DB85FC0BC}" type="presParOf" srcId="{8B49AF26-3242-DE4C-BB34-56F6BE523C23}" destId="{3FDC98D5-D2B1-D243-8A1A-EB584458C86D}" srcOrd="5" destOrd="0" presId="urn:microsoft.com/office/officeart/2005/8/layout/hierarchy2"/>
    <dgm:cxn modelId="{2A406CFE-95FB-B148-875A-162BEA9E0EF7}" type="presParOf" srcId="{3FDC98D5-D2B1-D243-8A1A-EB584458C86D}" destId="{86CFBC85-1771-7343-A37E-3353824A39E5}" srcOrd="0" destOrd="0" presId="urn:microsoft.com/office/officeart/2005/8/layout/hierarchy2"/>
    <dgm:cxn modelId="{982B92BE-A692-464C-A701-077D399E2343}" type="presParOf" srcId="{3FDC98D5-D2B1-D243-8A1A-EB584458C86D}" destId="{B9985F90-E938-824D-A064-2A7311267E66}" srcOrd="1" destOrd="0" presId="urn:microsoft.com/office/officeart/2005/8/layout/hierarchy2"/>
    <dgm:cxn modelId="{BE74C125-1D41-3340-876B-C8B115CA3108}" type="presParOf" srcId="{8B49AF26-3242-DE4C-BB34-56F6BE523C23}" destId="{F33EFA89-C3CF-844D-B8F5-656013CE8860}" srcOrd="6" destOrd="0" presId="urn:microsoft.com/office/officeart/2005/8/layout/hierarchy2"/>
    <dgm:cxn modelId="{AA6A320F-D257-9F48-A4E8-F8F508D50DA6}" type="presParOf" srcId="{F33EFA89-C3CF-844D-B8F5-656013CE8860}" destId="{1B3013AB-06E2-D34E-8859-6598ED9B26E5}" srcOrd="0" destOrd="0" presId="urn:microsoft.com/office/officeart/2005/8/layout/hierarchy2"/>
    <dgm:cxn modelId="{01DC536B-D4DF-D149-ADED-FA635AE23A03}" type="presParOf" srcId="{8B49AF26-3242-DE4C-BB34-56F6BE523C23}" destId="{BA61C7DA-3A51-AF44-953C-B1CFADAC2047}" srcOrd="7" destOrd="0" presId="urn:microsoft.com/office/officeart/2005/8/layout/hierarchy2"/>
    <dgm:cxn modelId="{DB089D09-5792-AB42-9812-6E42FBED8A40}" type="presParOf" srcId="{BA61C7DA-3A51-AF44-953C-B1CFADAC2047}" destId="{6F3DD340-3A24-AC4E-B181-C736346881E5}" srcOrd="0" destOrd="0" presId="urn:microsoft.com/office/officeart/2005/8/layout/hierarchy2"/>
    <dgm:cxn modelId="{9C0D08FE-D783-9B4E-8E8E-F03C61B8C859}" type="presParOf" srcId="{BA61C7DA-3A51-AF44-953C-B1CFADAC2047}" destId="{4B1C90F7-7F92-814D-96B3-63C5EB649C3A}" srcOrd="1" destOrd="0" presId="urn:microsoft.com/office/officeart/2005/8/layout/hierarchy2"/>
    <dgm:cxn modelId="{5AD2193C-65AE-CC49-B1E3-7C4A3022A170}" type="presParOf" srcId="{8B49AF26-3242-DE4C-BB34-56F6BE523C23}" destId="{87EBF2E3-4441-C44D-B465-DBEFDB3995B0}" srcOrd="8" destOrd="0" presId="urn:microsoft.com/office/officeart/2005/8/layout/hierarchy2"/>
    <dgm:cxn modelId="{EE866594-22E0-9940-BD2B-A0A0D11219CF}" type="presParOf" srcId="{87EBF2E3-4441-C44D-B465-DBEFDB3995B0}" destId="{05FB8D24-7AAF-5B4F-9921-5708F2B2594A}" srcOrd="0" destOrd="0" presId="urn:microsoft.com/office/officeart/2005/8/layout/hierarchy2"/>
    <dgm:cxn modelId="{F52E68A7-EFC2-A94C-9C72-F0437A1E9255}" type="presParOf" srcId="{8B49AF26-3242-DE4C-BB34-56F6BE523C23}" destId="{C4E96CA2-A799-DB4E-A4CA-D6339208C72D}" srcOrd="9" destOrd="0" presId="urn:microsoft.com/office/officeart/2005/8/layout/hierarchy2"/>
    <dgm:cxn modelId="{C5657E32-E04C-0340-82A9-4B0A86C67B9A}" type="presParOf" srcId="{C4E96CA2-A799-DB4E-A4CA-D6339208C72D}" destId="{06EF309D-A05E-8440-9447-8E0652C9938E}" srcOrd="0" destOrd="0" presId="urn:microsoft.com/office/officeart/2005/8/layout/hierarchy2"/>
    <dgm:cxn modelId="{39D06DBE-F94E-6A4B-9F1E-2FB5CEED7C8B}" type="presParOf" srcId="{C4E96CA2-A799-DB4E-A4CA-D6339208C72D}" destId="{ACFEA204-12BF-2A42-A46F-6012E2C1868C}" srcOrd="1" destOrd="0" presId="urn:microsoft.com/office/officeart/2005/8/layout/hierarchy2"/>
    <dgm:cxn modelId="{CB8F3EBC-A999-4E46-BE75-87EBB68F4BC1}" type="presParOf" srcId="{BE89600E-7229-2241-A6CA-F9E3C89E8655}" destId="{C986173D-B6CA-2A48-9E93-11C63FD43536}" srcOrd="1" destOrd="0" presId="urn:microsoft.com/office/officeart/2005/8/layout/hierarchy2"/>
    <dgm:cxn modelId="{BF55FC2A-E8F5-9246-BE52-5B7081AFAAEC}" type="presParOf" srcId="{C986173D-B6CA-2A48-9E93-11C63FD43536}" destId="{82151661-3278-AC41-97E0-24581590B11E}" srcOrd="0" destOrd="0" presId="urn:microsoft.com/office/officeart/2005/8/layout/hierarchy2"/>
    <dgm:cxn modelId="{B04FB664-D6A8-9545-B024-50549B303045}" type="presParOf" srcId="{C986173D-B6CA-2A48-9E93-11C63FD43536}" destId="{E0DB2F7E-6896-BE41-B081-AE60455179CB}" srcOrd="1" destOrd="0" presId="urn:microsoft.com/office/officeart/2005/8/layout/hierarchy2"/>
    <dgm:cxn modelId="{8A8A5ECE-432D-E642-8CF7-DB1F2B09E5D7}" type="presParOf" srcId="{E0DB2F7E-6896-BE41-B081-AE60455179CB}" destId="{C1B782B6-8491-E448-9003-0B1725918558}" srcOrd="0" destOrd="0" presId="urn:microsoft.com/office/officeart/2005/8/layout/hierarchy2"/>
    <dgm:cxn modelId="{33C4729B-5550-6449-A8D4-E73ED85AA4EB}" type="presParOf" srcId="{C1B782B6-8491-E448-9003-0B1725918558}" destId="{64E5F9E2-5ED7-9B46-8B16-08129E7F6901}" srcOrd="0" destOrd="0" presId="urn:microsoft.com/office/officeart/2005/8/layout/hierarchy2"/>
    <dgm:cxn modelId="{E9EC1A7E-0798-894D-BD24-94AFA913A59A}" type="presParOf" srcId="{E0DB2F7E-6896-BE41-B081-AE60455179CB}" destId="{F5EC76F4-47EB-E746-9598-F9A0F1C1A32D}" srcOrd="1" destOrd="0" presId="urn:microsoft.com/office/officeart/2005/8/layout/hierarchy2"/>
    <dgm:cxn modelId="{BF1A8EA3-7734-F242-9782-B5F52A8FF145}" type="presParOf" srcId="{F5EC76F4-47EB-E746-9598-F9A0F1C1A32D}" destId="{FA2F917F-A778-6E40-A6A2-326312421619}" srcOrd="0" destOrd="0" presId="urn:microsoft.com/office/officeart/2005/8/layout/hierarchy2"/>
    <dgm:cxn modelId="{A8181137-61C1-5A4D-907B-711A87F9954D}" type="presParOf" srcId="{F5EC76F4-47EB-E746-9598-F9A0F1C1A32D}" destId="{E72CF8F4-F4C4-B54E-A8BD-FFC080FC3FB2}" srcOrd="1" destOrd="0" presId="urn:microsoft.com/office/officeart/2005/8/layout/hierarchy2"/>
    <dgm:cxn modelId="{18454444-7786-8B4E-BD11-DF3E0323C11B}" type="presParOf" srcId="{BE89600E-7229-2241-A6CA-F9E3C89E8655}" destId="{4A0C4D72-A0E1-4B41-B9E2-8516946458AD}" srcOrd="2" destOrd="0" presId="urn:microsoft.com/office/officeart/2005/8/layout/hierarchy2"/>
    <dgm:cxn modelId="{DCD57A30-9C3A-844C-9599-4687E3EC5849}" type="presParOf" srcId="{4A0C4D72-A0E1-4B41-B9E2-8516946458AD}" destId="{973D98EC-B6C3-EE43-BF98-66E290A8CF80}" srcOrd="0" destOrd="0" presId="urn:microsoft.com/office/officeart/2005/8/layout/hierarchy2"/>
    <dgm:cxn modelId="{E3ADC31A-CE8A-844C-A3EB-54E0E755E57C}" type="presParOf" srcId="{4A0C4D72-A0E1-4B41-B9E2-8516946458AD}" destId="{1FEE0603-5ED6-9347-81FE-E56668B63256}" srcOrd="1" destOrd="0" presId="urn:microsoft.com/office/officeart/2005/8/layout/hierarchy2"/>
    <dgm:cxn modelId="{A1E662AB-FD92-AF42-BA48-58FBAEBF5F31}" type="presParOf" srcId="{1FEE0603-5ED6-9347-81FE-E56668B63256}" destId="{30CA4377-8D46-3B40-9738-1063EC96EC0D}" srcOrd="0" destOrd="0" presId="urn:microsoft.com/office/officeart/2005/8/layout/hierarchy2"/>
    <dgm:cxn modelId="{F1A67031-83A8-D54B-80BB-006F2087D172}" type="presParOf" srcId="{30CA4377-8D46-3B40-9738-1063EC96EC0D}" destId="{2F6569F0-D6B7-5D40-AAE8-85C23CA6F927}" srcOrd="0" destOrd="0" presId="urn:microsoft.com/office/officeart/2005/8/layout/hierarchy2"/>
    <dgm:cxn modelId="{09BD0498-DCB4-1747-8037-6DC45E8274B6}" type="presParOf" srcId="{1FEE0603-5ED6-9347-81FE-E56668B63256}" destId="{BAD87828-6BB2-7C47-ACF7-1D9857AE7FF8}" srcOrd="1" destOrd="0" presId="urn:microsoft.com/office/officeart/2005/8/layout/hierarchy2"/>
    <dgm:cxn modelId="{E42AA641-2907-ED42-967C-0E5523129DD5}" type="presParOf" srcId="{BAD87828-6BB2-7C47-ACF7-1D9857AE7FF8}" destId="{05929E7C-CD3F-7640-8C66-E284486EE659}" srcOrd="0" destOrd="0" presId="urn:microsoft.com/office/officeart/2005/8/layout/hierarchy2"/>
    <dgm:cxn modelId="{08BEC6B1-6809-2D4D-8C7C-D26EC67EF846}" type="presParOf" srcId="{BAD87828-6BB2-7C47-ACF7-1D9857AE7FF8}" destId="{1CC5488A-23A0-634E-A16B-69D3EF8A9375}" srcOrd="1" destOrd="0" presId="urn:microsoft.com/office/officeart/2005/8/layout/hierarchy2"/>
  </dgm:cxnLst>
  <dgm:bg/>
  <dgm:whole>
    <a:ln w="12700"/>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87AD75F-D03D-804A-9EB4-8D0E82D14E9E}" type="doc">
      <dgm:prSet loTypeId="urn:microsoft.com/office/officeart/2008/layout/VerticalCurvedList" loCatId="" qsTypeId="urn:microsoft.com/office/officeart/2005/8/quickstyle/simple1" qsCatId="simple" csTypeId="urn:microsoft.com/office/officeart/2005/8/colors/accent0_2" csCatId="mainScheme" phldr="1"/>
      <dgm:spPr/>
      <dgm:t>
        <a:bodyPr/>
        <a:lstStyle/>
        <a:p>
          <a:endParaRPr lang="en-US"/>
        </a:p>
      </dgm:t>
    </dgm:pt>
    <dgm:pt modelId="{740F8A81-B403-AF40-B3DC-F42F9595466D}">
      <dgm:prSet phldrT="[Text]" custT="1"/>
      <dgm:spPr>
        <a:noFill/>
        <a:ln w="12700">
          <a:solidFill>
            <a:schemeClr val="tx1"/>
          </a:solidFill>
          <a:prstDash val="sysDash"/>
        </a:ln>
      </dgm:spPr>
      <dgm:t>
        <a:bodyPr/>
        <a:lstStyle/>
        <a:p>
          <a:r>
            <a:rPr lang="en-US" sz="1000">
              <a:solidFill>
                <a:schemeClr val="tx1"/>
              </a:solidFill>
            </a:rPr>
            <a:t>Learning rate</a:t>
          </a:r>
        </a:p>
      </dgm:t>
    </dgm:pt>
    <dgm:pt modelId="{347F55A5-482D-CF4D-9BBF-A5FD381E027A}" type="parTrans" cxnId="{4B2F7500-5773-8C4E-B182-F87C06534431}">
      <dgm:prSet/>
      <dgm:spPr/>
      <dgm:t>
        <a:bodyPr/>
        <a:lstStyle/>
        <a:p>
          <a:endParaRPr lang="en-US"/>
        </a:p>
      </dgm:t>
    </dgm:pt>
    <dgm:pt modelId="{21372A71-CBE1-DB42-BC9F-6848524F27D8}" type="sibTrans" cxnId="{4B2F7500-5773-8C4E-B182-F87C06534431}">
      <dgm:prSet/>
      <dgm:spPr>
        <a:solidFill>
          <a:srgbClr val="D5D5D5"/>
        </a:solidFill>
        <a:ln w="19050">
          <a:noFill/>
        </a:ln>
      </dgm:spPr>
      <dgm:t>
        <a:bodyPr/>
        <a:lstStyle/>
        <a:p>
          <a:endParaRPr lang="en-US"/>
        </a:p>
      </dgm:t>
    </dgm:pt>
    <dgm:pt modelId="{5DAD00D1-E3BD-BE4A-8F9F-208090E2DBBA}">
      <dgm:prSet phldrT="[Text]" custT="1"/>
      <dgm:spPr>
        <a:noFill/>
        <a:ln w="12700">
          <a:solidFill>
            <a:schemeClr val="tx1"/>
          </a:solidFill>
          <a:prstDash val="sysDash"/>
        </a:ln>
      </dgm:spPr>
      <dgm:t>
        <a:bodyPr/>
        <a:lstStyle/>
        <a:p>
          <a:r>
            <a:rPr lang="en-US" sz="1000">
              <a:solidFill>
                <a:schemeClr val="tx1"/>
              </a:solidFill>
            </a:rPr>
            <a:t># Neurons in dense layer</a:t>
          </a:r>
        </a:p>
      </dgm:t>
    </dgm:pt>
    <dgm:pt modelId="{6FDB012C-E4BA-AF4D-B4FD-F13985FA99BA}" type="parTrans" cxnId="{563C87F3-A3C3-2D47-9C07-9150C7BEECCA}">
      <dgm:prSet/>
      <dgm:spPr/>
      <dgm:t>
        <a:bodyPr/>
        <a:lstStyle/>
        <a:p>
          <a:endParaRPr lang="en-US"/>
        </a:p>
      </dgm:t>
    </dgm:pt>
    <dgm:pt modelId="{EE249EBF-7194-8A4F-BD9F-5EC700BF40EB}" type="sibTrans" cxnId="{563C87F3-A3C3-2D47-9C07-9150C7BEECCA}">
      <dgm:prSet/>
      <dgm:spPr/>
      <dgm:t>
        <a:bodyPr/>
        <a:lstStyle/>
        <a:p>
          <a:endParaRPr lang="en-US"/>
        </a:p>
      </dgm:t>
    </dgm:pt>
    <dgm:pt modelId="{6BA161FB-2C22-D642-9538-3579189E3839}">
      <dgm:prSet phldrT="[Text]" custT="1"/>
      <dgm:spPr>
        <a:noFill/>
        <a:ln w="12700">
          <a:solidFill>
            <a:schemeClr val="tx1"/>
          </a:solidFill>
          <a:prstDash val="sysDash"/>
        </a:ln>
      </dgm:spPr>
      <dgm:t>
        <a:bodyPr/>
        <a:lstStyle/>
        <a:p>
          <a:r>
            <a:rPr lang="en-US" sz="1000">
              <a:solidFill>
                <a:schemeClr val="tx1"/>
              </a:solidFill>
            </a:rPr>
            <a:t>Dropout rate</a:t>
          </a:r>
        </a:p>
      </dgm:t>
    </dgm:pt>
    <dgm:pt modelId="{995CCAFE-4EBF-C54F-ABCC-AD0BBA8A472F}" type="parTrans" cxnId="{F3B3EC10-A824-B745-8F19-1BA4CDF5AA88}">
      <dgm:prSet/>
      <dgm:spPr/>
      <dgm:t>
        <a:bodyPr/>
        <a:lstStyle/>
        <a:p>
          <a:endParaRPr lang="en-US"/>
        </a:p>
      </dgm:t>
    </dgm:pt>
    <dgm:pt modelId="{BD840C4A-0ACA-7E41-9168-24DC7E8769EC}" type="sibTrans" cxnId="{F3B3EC10-A824-B745-8F19-1BA4CDF5AA88}">
      <dgm:prSet/>
      <dgm:spPr/>
      <dgm:t>
        <a:bodyPr/>
        <a:lstStyle/>
        <a:p>
          <a:endParaRPr lang="en-US"/>
        </a:p>
      </dgm:t>
    </dgm:pt>
    <dgm:pt modelId="{F678A8AF-AE73-554E-A46A-D77F990BEE9F}">
      <dgm:prSet phldrT="[Text]" custT="1"/>
      <dgm:spPr>
        <a:noFill/>
        <a:ln w="12700">
          <a:solidFill>
            <a:schemeClr val="tx1"/>
          </a:solidFill>
          <a:prstDash val="sysDash"/>
        </a:ln>
      </dgm:spPr>
      <dgm:t>
        <a:bodyPr/>
        <a:lstStyle/>
        <a:p>
          <a:r>
            <a:rPr lang="en-US" sz="1000">
              <a:solidFill>
                <a:schemeClr val="tx1"/>
              </a:solidFill>
            </a:rPr>
            <a:t>Batch normalization</a:t>
          </a:r>
        </a:p>
      </dgm:t>
    </dgm:pt>
    <dgm:pt modelId="{79706ACF-C3BF-BD48-B4D0-5A689FCA0F19}" type="parTrans" cxnId="{5E626DCE-E646-6A46-94AE-89760EF934FB}">
      <dgm:prSet/>
      <dgm:spPr/>
      <dgm:t>
        <a:bodyPr/>
        <a:lstStyle/>
        <a:p>
          <a:endParaRPr lang="en-US"/>
        </a:p>
      </dgm:t>
    </dgm:pt>
    <dgm:pt modelId="{6289BD91-69C2-FA4F-94FF-D558F00D9E24}" type="sibTrans" cxnId="{5E626DCE-E646-6A46-94AE-89760EF934FB}">
      <dgm:prSet/>
      <dgm:spPr/>
      <dgm:t>
        <a:bodyPr/>
        <a:lstStyle/>
        <a:p>
          <a:endParaRPr lang="en-US"/>
        </a:p>
      </dgm:t>
    </dgm:pt>
    <dgm:pt modelId="{3AE82B97-7DEB-3749-AE39-792E049971C3}">
      <dgm:prSet phldrT="[Text]" custT="1"/>
      <dgm:spPr>
        <a:noFill/>
        <a:ln w="12700">
          <a:solidFill>
            <a:schemeClr val="tx1"/>
          </a:solidFill>
          <a:prstDash val="sysDash"/>
        </a:ln>
      </dgm:spPr>
      <dgm:t>
        <a:bodyPr/>
        <a:lstStyle/>
        <a:p>
          <a:r>
            <a:rPr lang="en-US" sz="1000">
              <a:solidFill>
                <a:schemeClr val="tx1"/>
              </a:solidFill>
            </a:rPr>
            <a:t>L2 regularization</a:t>
          </a:r>
        </a:p>
      </dgm:t>
    </dgm:pt>
    <dgm:pt modelId="{66773CF1-0B93-C642-BF9B-4F8421D15E51}" type="parTrans" cxnId="{4E467C34-2171-1847-81EA-387C003194EC}">
      <dgm:prSet/>
      <dgm:spPr/>
      <dgm:t>
        <a:bodyPr/>
        <a:lstStyle/>
        <a:p>
          <a:endParaRPr lang="en-US"/>
        </a:p>
      </dgm:t>
    </dgm:pt>
    <dgm:pt modelId="{FBEE7910-29D2-B54A-B088-6046B3C46113}" type="sibTrans" cxnId="{4E467C34-2171-1847-81EA-387C003194EC}">
      <dgm:prSet/>
      <dgm:spPr/>
      <dgm:t>
        <a:bodyPr/>
        <a:lstStyle/>
        <a:p>
          <a:endParaRPr lang="en-US"/>
        </a:p>
      </dgm:t>
    </dgm:pt>
    <dgm:pt modelId="{B1A86ECA-DA43-BA4B-A14A-56ADB7E149D3}">
      <dgm:prSet phldrT="[Text]" custT="1"/>
      <dgm:spPr>
        <a:noFill/>
        <a:ln w="12700">
          <a:solidFill>
            <a:schemeClr val="tx1"/>
          </a:solidFill>
          <a:prstDash val="sysDash"/>
        </a:ln>
      </dgm:spPr>
      <dgm:t>
        <a:bodyPr/>
        <a:lstStyle/>
        <a:p>
          <a:r>
            <a:rPr lang="en-US" sz="1000">
              <a:solidFill>
                <a:schemeClr val="tx1"/>
              </a:solidFill>
            </a:rPr>
            <a:t>( # Dense Layers )</a:t>
          </a:r>
        </a:p>
      </dgm:t>
    </dgm:pt>
    <dgm:pt modelId="{318F4CE2-076A-614B-8B4F-EB78EB688051}" type="parTrans" cxnId="{890661C4-2CC1-304B-ACBF-62051EF2543D}">
      <dgm:prSet/>
      <dgm:spPr/>
      <dgm:t>
        <a:bodyPr/>
        <a:lstStyle/>
        <a:p>
          <a:endParaRPr lang="en-US"/>
        </a:p>
      </dgm:t>
    </dgm:pt>
    <dgm:pt modelId="{F122A74B-E343-BB47-AC50-47488000ADE7}" type="sibTrans" cxnId="{890661C4-2CC1-304B-ACBF-62051EF2543D}">
      <dgm:prSet/>
      <dgm:spPr/>
      <dgm:t>
        <a:bodyPr/>
        <a:lstStyle/>
        <a:p>
          <a:endParaRPr lang="en-US"/>
        </a:p>
      </dgm:t>
    </dgm:pt>
    <dgm:pt modelId="{16F302C7-7A15-F349-A202-283B47A4307E}" type="pres">
      <dgm:prSet presAssocID="{A87AD75F-D03D-804A-9EB4-8D0E82D14E9E}" presName="Name0" presStyleCnt="0">
        <dgm:presLayoutVars>
          <dgm:chMax val="7"/>
          <dgm:chPref val="7"/>
          <dgm:dir/>
        </dgm:presLayoutVars>
      </dgm:prSet>
      <dgm:spPr/>
    </dgm:pt>
    <dgm:pt modelId="{BF12137C-14A3-2E46-A784-9AFCAB828D6C}" type="pres">
      <dgm:prSet presAssocID="{A87AD75F-D03D-804A-9EB4-8D0E82D14E9E}" presName="Name1" presStyleCnt="0"/>
      <dgm:spPr/>
    </dgm:pt>
    <dgm:pt modelId="{AC6C78AA-D9A3-FA46-9CC5-9F563142BB1B}" type="pres">
      <dgm:prSet presAssocID="{A87AD75F-D03D-804A-9EB4-8D0E82D14E9E}" presName="cycle" presStyleCnt="0"/>
      <dgm:spPr/>
    </dgm:pt>
    <dgm:pt modelId="{094F7818-8388-AA46-985D-A42C003AE0DB}" type="pres">
      <dgm:prSet presAssocID="{A87AD75F-D03D-804A-9EB4-8D0E82D14E9E}" presName="srcNode" presStyleLbl="node1" presStyleIdx="0" presStyleCnt="6"/>
      <dgm:spPr/>
    </dgm:pt>
    <dgm:pt modelId="{3C05F29F-D528-194F-A6B5-AAA05D8DA922}" type="pres">
      <dgm:prSet presAssocID="{A87AD75F-D03D-804A-9EB4-8D0E82D14E9E}" presName="conn" presStyleLbl="parChTrans1D2" presStyleIdx="0" presStyleCnt="1"/>
      <dgm:spPr/>
    </dgm:pt>
    <dgm:pt modelId="{74CC8FB1-1B8D-BF4A-A4D9-69D713F9D3D8}" type="pres">
      <dgm:prSet presAssocID="{A87AD75F-D03D-804A-9EB4-8D0E82D14E9E}" presName="extraNode" presStyleLbl="node1" presStyleIdx="0" presStyleCnt="6"/>
      <dgm:spPr/>
    </dgm:pt>
    <dgm:pt modelId="{8738038E-661A-BB4A-A29D-CF1A8F21CE29}" type="pres">
      <dgm:prSet presAssocID="{A87AD75F-D03D-804A-9EB4-8D0E82D14E9E}" presName="dstNode" presStyleLbl="node1" presStyleIdx="0" presStyleCnt="6"/>
      <dgm:spPr/>
    </dgm:pt>
    <dgm:pt modelId="{C53C6827-930E-1A4E-8C8A-9F7275335C27}" type="pres">
      <dgm:prSet presAssocID="{740F8A81-B403-AF40-B3DC-F42F9595466D}" presName="text_1" presStyleLbl="node1" presStyleIdx="0" presStyleCnt="6">
        <dgm:presLayoutVars>
          <dgm:bulletEnabled val="1"/>
        </dgm:presLayoutVars>
      </dgm:prSet>
      <dgm:spPr/>
    </dgm:pt>
    <dgm:pt modelId="{88E015C7-501D-6342-BD3D-F877C815EE9B}" type="pres">
      <dgm:prSet presAssocID="{740F8A81-B403-AF40-B3DC-F42F9595466D}" presName="accent_1" presStyleCnt="0"/>
      <dgm:spPr/>
    </dgm:pt>
    <dgm:pt modelId="{1A95E120-89BB-1947-B752-24181DA708BE}" type="pres">
      <dgm:prSet presAssocID="{740F8A81-B403-AF40-B3DC-F42F9595466D}" presName="accentRepeatNode" presStyleLbl="solidFgAcc1" presStyleIdx="0" presStyleCnt="6"/>
      <dgm:spPr>
        <a:solidFill>
          <a:srgbClr val="D5D5D5"/>
        </a:solidFill>
        <a:ln w="12700">
          <a:solidFill>
            <a:schemeClr val="tx1"/>
          </a:solidFill>
        </a:ln>
      </dgm:spPr>
    </dgm:pt>
    <dgm:pt modelId="{A4ED58E0-A177-9048-A733-42E78819C5B8}" type="pres">
      <dgm:prSet presAssocID="{5DAD00D1-E3BD-BE4A-8F9F-208090E2DBBA}" presName="text_2" presStyleLbl="node1" presStyleIdx="1" presStyleCnt="6">
        <dgm:presLayoutVars>
          <dgm:bulletEnabled val="1"/>
        </dgm:presLayoutVars>
      </dgm:prSet>
      <dgm:spPr/>
    </dgm:pt>
    <dgm:pt modelId="{243AE4B7-B885-4B41-901A-F223FC9C47C1}" type="pres">
      <dgm:prSet presAssocID="{5DAD00D1-E3BD-BE4A-8F9F-208090E2DBBA}" presName="accent_2" presStyleCnt="0"/>
      <dgm:spPr/>
    </dgm:pt>
    <dgm:pt modelId="{8BD879D5-6C99-2D4B-AFE5-D8BB0ECE54A4}" type="pres">
      <dgm:prSet presAssocID="{5DAD00D1-E3BD-BE4A-8F9F-208090E2DBBA}" presName="accentRepeatNode" presStyleLbl="solidFgAcc1" presStyleIdx="1" presStyleCnt="6"/>
      <dgm:spPr>
        <a:solidFill>
          <a:srgbClr val="D5D5D5"/>
        </a:solidFill>
        <a:ln w="12700">
          <a:solidFill>
            <a:schemeClr val="tx1"/>
          </a:solidFill>
        </a:ln>
      </dgm:spPr>
    </dgm:pt>
    <dgm:pt modelId="{3BCB405A-2BCE-D942-B399-7BC3AF954513}" type="pres">
      <dgm:prSet presAssocID="{6BA161FB-2C22-D642-9538-3579189E3839}" presName="text_3" presStyleLbl="node1" presStyleIdx="2" presStyleCnt="6">
        <dgm:presLayoutVars>
          <dgm:bulletEnabled val="1"/>
        </dgm:presLayoutVars>
      </dgm:prSet>
      <dgm:spPr/>
    </dgm:pt>
    <dgm:pt modelId="{7C19B1B0-3BD7-754E-AD34-F8EA476CC13F}" type="pres">
      <dgm:prSet presAssocID="{6BA161FB-2C22-D642-9538-3579189E3839}" presName="accent_3" presStyleCnt="0"/>
      <dgm:spPr/>
    </dgm:pt>
    <dgm:pt modelId="{45467174-D124-8848-9733-B54F52B065A1}" type="pres">
      <dgm:prSet presAssocID="{6BA161FB-2C22-D642-9538-3579189E3839}" presName="accentRepeatNode" presStyleLbl="solidFgAcc1" presStyleIdx="2" presStyleCnt="6"/>
      <dgm:spPr>
        <a:solidFill>
          <a:srgbClr val="D5D5D5"/>
        </a:solidFill>
        <a:ln w="12700">
          <a:solidFill>
            <a:schemeClr val="tx1"/>
          </a:solidFill>
        </a:ln>
      </dgm:spPr>
    </dgm:pt>
    <dgm:pt modelId="{55001DF0-276B-3248-A1C5-96D319467916}" type="pres">
      <dgm:prSet presAssocID="{F678A8AF-AE73-554E-A46A-D77F990BEE9F}" presName="text_4" presStyleLbl="node1" presStyleIdx="3" presStyleCnt="6">
        <dgm:presLayoutVars>
          <dgm:bulletEnabled val="1"/>
        </dgm:presLayoutVars>
      </dgm:prSet>
      <dgm:spPr/>
    </dgm:pt>
    <dgm:pt modelId="{99EE1836-1FF6-0943-AD13-1402025C670D}" type="pres">
      <dgm:prSet presAssocID="{F678A8AF-AE73-554E-A46A-D77F990BEE9F}" presName="accent_4" presStyleCnt="0"/>
      <dgm:spPr/>
    </dgm:pt>
    <dgm:pt modelId="{53E84DE1-3358-9147-B947-1BB2B3A74D13}" type="pres">
      <dgm:prSet presAssocID="{F678A8AF-AE73-554E-A46A-D77F990BEE9F}" presName="accentRepeatNode" presStyleLbl="solidFgAcc1" presStyleIdx="3" presStyleCnt="6"/>
      <dgm:spPr>
        <a:solidFill>
          <a:srgbClr val="D5D5D5"/>
        </a:solidFill>
        <a:ln w="12700">
          <a:solidFill>
            <a:schemeClr val="tx1"/>
          </a:solidFill>
        </a:ln>
      </dgm:spPr>
    </dgm:pt>
    <dgm:pt modelId="{B3F8D2C8-077A-0F44-8C45-6E16F9D2977A}" type="pres">
      <dgm:prSet presAssocID="{3AE82B97-7DEB-3749-AE39-792E049971C3}" presName="text_5" presStyleLbl="node1" presStyleIdx="4" presStyleCnt="6">
        <dgm:presLayoutVars>
          <dgm:bulletEnabled val="1"/>
        </dgm:presLayoutVars>
      </dgm:prSet>
      <dgm:spPr/>
    </dgm:pt>
    <dgm:pt modelId="{C29FD85C-1D97-D042-9E55-48A603AC1619}" type="pres">
      <dgm:prSet presAssocID="{3AE82B97-7DEB-3749-AE39-792E049971C3}" presName="accent_5" presStyleCnt="0"/>
      <dgm:spPr/>
    </dgm:pt>
    <dgm:pt modelId="{042AA417-94A3-1D42-82E1-9BDDBFE67E38}" type="pres">
      <dgm:prSet presAssocID="{3AE82B97-7DEB-3749-AE39-792E049971C3}" presName="accentRepeatNode" presStyleLbl="solidFgAcc1" presStyleIdx="4" presStyleCnt="6"/>
      <dgm:spPr>
        <a:solidFill>
          <a:srgbClr val="D5D5D5"/>
        </a:solidFill>
        <a:ln w="12700">
          <a:solidFill>
            <a:schemeClr val="tx1"/>
          </a:solidFill>
        </a:ln>
      </dgm:spPr>
    </dgm:pt>
    <dgm:pt modelId="{4DBD36D8-829A-4B44-A43B-2FF0B5D40880}" type="pres">
      <dgm:prSet presAssocID="{B1A86ECA-DA43-BA4B-A14A-56ADB7E149D3}" presName="text_6" presStyleLbl="node1" presStyleIdx="5" presStyleCnt="6">
        <dgm:presLayoutVars>
          <dgm:bulletEnabled val="1"/>
        </dgm:presLayoutVars>
      </dgm:prSet>
      <dgm:spPr/>
    </dgm:pt>
    <dgm:pt modelId="{9B6DF6BC-DBF1-8445-BDF4-7B275B3E9505}" type="pres">
      <dgm:prSet presAssocID="{B1A86ECA-DA43-BA4B-A14A-56ADB7E149D3}" presName="accent_6" presStyleCnt="0"/>
      <dgm:spPr/>
    </dgm:pt>
    <dgm:pt modelId="{0C1DB10A-E691-F746-BD0C-B70BC01D07D3}" type="pres">
      <dgm:prSet presAssocID="{B1A86ECA-DA43-BA4B-A14A-56ADB7E149D3}" presName="accentRepeatNode" presStyleLbl="solidFgAcc1" presStyleIdx="5" presStyleCnt="6"/>
      <dgm:spPr>
        <a:solidFill>
          <a:srgbClr val="D5D5D5"/>
        </a:solidFill>
        <a:ln w="12700">
          <a:solidFill>
            <a:schemeClr val="tx1"/>
          </a:solidFill>
        </a:ln>
      </dgm:spPr>
    </dgm:pt>
  </dgm:ptLst>
  <dgm:cxnLst>
    <dgm:cxn modelId="{4B2F7500-5773-8C4E-B182-F87C06534431}" srcId="{A87AD75F-D03D-804A-9EB4-8D0E82D14E9E}" destId="{740F8A81-B403-AF40-B3DC-F42F9595466D}" srcOrd="0" destOrd="0" parTransId="{347F55A5-482D-CF4D-9BBF-A5FD381E027A}" sibTransId="{21372A71-CBE1-DB42-BC9F-6848524F27D8}"/>
    <dgm:cxn modelId="{F3B3EC10-A824-B745-8F19-1BA4CDF5AA88}" srcId="{A87AD75F-D03D-804A-9EB4-8D0E82D14E9E}" destId="{6BA161FB-2C22-D642-9538-3579189E3839}" srcOrd="2" destOrd="0" parTransId="{995CCAFE-4EBF-C54F-ABCC-AD0BBA8A472F}" sibTransId="{BD840C4A-0ACA-7E41-9168-24DC7E8769EC}"/>
    <dgm:cxn modelId="{4E467C34-2171-1847-81EA-387C003194EC}" srcId="{A87AD75F-D03D-804A-9EB4-8D0E82D14E9E}" destId="{3AE82B97-7DEB-3749-AE39-792E049971C3}" srcOrd="4" destOrd="0" parTransId="{66773CF1-0B93-C642-BF9B-4F8421D15E51}" sibTransId="{FBEE7910-29D2-B54A-B088-6046B3C46113}"/>
    <dgm:cxn modelId="{61623066-69FD-1442-A252-90CE91B893A2}" type="presOf" srcId="{3AE82B97-7DEB-3749-AE39-792E049971C3}" destId="{B3F8D2C8-077A-0F44-8C45-6E16F9D2977A}" srcOrd="0" destOrd="0" presId="urn:microsoft.com/office/officeart/2008/layout/VerticalCurvedList"/>
    <dgm:cxn modelId="{9E631B73-37B3-0543-9AF2-95FB58564F3A}" type="presOf" srcId="{740F8A81-B403-AF40-B3DC-F42F9595466D}" destId="{C53C6827-930E-1A4E-8C8A-9F7275335C27}" srcOrd="0" destOrd="0" presId="urn:microsoft.com/office/officeart/2008/layout/VerticalCurvedList"/>
    <dgm:cxn modelId="{C45E6055-72E5-0341-9DCF-23F193A7A062}" type="presOf" srcId="{21372A71-CBE1-DB42-BC9F-6848524F27D8}" destId="{3C05F29F-D528-194F-A6B5-AAA05D8DA922}" srcOrd="0" destOrd="0" presId="urn:microsoft.com/office/officeart/2008/layout/VerticalCurvedList"/>
    <dgm:cxn modelId="{D9AAB784-D0D6-8245-8C79-957A7005DF89}" type="presOf" srcId="{B1A86ECA-DA43-BA4B-A14A-56ADB7E149D3}" destId="{4DBD36D8-829A-4B44-A43B-2FF0B5D40880}" srcOrd="0" destOrd="0" presId="urn:microsoft.com/office/officeart/2008/layout/VerticalCurvedList"/>
    <dgm:cxn modelId="{88745E8D-7D70-6747-9B5E-1F05F0B2F9F4}" type="presOf" srcId="{A87AD75F-D03D-804A-9EB4-8D0E82D14E9E}" destId="{16F302C7-7A15-F349-A202-283B47A4307E}" srcOrd="0" destOrd="0" presId="urn:microsoft.com/office/officeart/2008/layout/VerticalCurvedList"/>
    <dgm:cxn modelId="{5A2ECAA3-44A8-5A45-B799-7F4B7F74F427}" type="presOf" srcId="{6BA161FB-2C22-D642-9538-3579189E3839}" destId="{3BCB405A-2BCE-D942-B399-7BC3AF954513}" srcOrd="0" destOrd="0" presId="urn:microsoft.com/office/officeart/2008/layout/VerticalCurvedList"/>
    <dgm:cxn modelId="{B3DD85B5-2A53-994C-B8C1-5917920F5688}" type="presOf" srcId="{5DAD00D1-E3BD-BE4A-8F9F-208090E2DBBA}" destId="{A4ED58E0-A177-9048-A733-42E78819C5B8}" srcOrd="0" destOrd="0" presId="urn:microsoft.com/office/officeart/2008/layout/VerticalCurvedList"/>
    <dgm:cxn modelId="{890661C4-2CC1-304B-ACBF-62051EF2543D}" srcId="{A87AD75F-D03D-804A-9EB4-8D0E82D14E9E}" destId="{B1A86ECA-DA43-BA4B-A14A-56ADB7E149D3}" srcOrd="5" destOrd="0" parTransId="{318F4CE2-076A-614B-8B4F-EB78EB688051}" sibTransId="{F122A74B-E343-BB47-AC50-47488000ADE7}"/>
    <dgm:cxn modelId="{5E626DCE-E646-6A46-94AE-89760EF934FB}" srcId="{A87AD75F-D03D-804A-9EB4-8D0E82D14E9E}" destId="{F678A8AF-AE73-554E-A46A-D77F990BEE9F}" srcOrd="3" destOrd="0" parTransId="{79706ACF-C3BF-BD48-B4D0-5A689FCA0F19}" sibTransId="{6289BD91-69C2-FA4F-94FF-D558F00D9E24}"/>
    <dgm:cxn modelId="{52FC5AE3-A3AC-FB42-BDD6-E3DC66605FAE}" type="presOf" srcId="{F678A8AF-AE73-554E-A46A-D77F990BEE9F}" destId="{55001DF0-276B-3248-A1C5-96D319467916}" srcOrd="0" destOrd="0" presId="urn:microsoft.com/office/officeart/2008/layout/VerticalCurvedList"/>
    <dgm:cxn modelId="{563C87F3-A3C3-2D47-9C07-9150C7BEECCA}" srcId="{A87AD75F-D03D-804A-9EB4-8D0E82D14E9E}" destId="{5DAD00D1-E3BD-BE4A-8F9F-208090E2DBBA}" srcOrd="1" destOrd="0" parTransId="{6FDB012C-E4BA-AF4D-B4FD-F13985FA99BA}" sibTransId="{EE249EBF-7194-8A4F-BD9F-5EC700BF40EB}"/>
    <dgm:cxn modelId="{2459B773-6236-3442-9285-DFEAF43AA3B1}" type="presParOf" srcId="{16F302C7-7A15-F349-A202-283B47A4307E}" destId="{BF12137C-14A3-2E46-A784-9AFCAB828D6C}" srcOrd="0" destOrd="0" presId="urn:microsoft.com/office/officeart/2008/layout/VerticalCurvedList"/>
    <dgm:cxn modelId="{EFBC02CB-7076-A94F-BBBF-E60447703B5E}" type="presParOf" srcId="{BF12137C-14A3-2E46-A784-9AFCAB828D6C}" destId="{AC6C78AA-D9A3-FA46-9CC5-9F563142BB1B}" srcOrd="0" destOrd="0" presId="urn:microsoft.com/office/officeart/2008/layout/VerticalCurvedList"/>
    <dgm:cxn modelId="{601E030B-CCF1-2247-A63E-C0E4B76D8C4A}" type="presParOf" srcId="{AC6C78AA-D9A3-FA46-9CC5-9F563142BB1B}" destId="{094F7818-8388-AA46-985D-A42C003AE0DB}" srcOrd="0" destOrd="0" presId="urn:microsoft.com/office/officeart/2008/layout/VerticalCurvedList"/>
    <dgm:cxn modelId="{F51D5CAA-BCB4-5640-BF5E-7C20D85F7E72}" type="presParOf" srcId="{AC6C78AA-D9A3-FA46-9CC5-9F563142BB1B}" destId="{3C05F29F-D528-194F-A6B5-AAA05D8DA922}" srcOrd="1" destOrd="0" presId="urn:microsoft.com/office/officeart/2008/layout/VerticalCurvedList"/>
    <dgm:cxn modelId="{9DE8809A-1A25-CE4E-B63C-4762398A2AA5}" type="presParOf" srcId="{AC6C78AA-D9A3-FA46-9CC5-9F563142BB1B}" destId="{74CC8FB1-1B8D-BF4A-A4D9-69D713F9D3D8}" srcOrd="2" destOrd="0" presId="urn:microsoft.com/office/officeart/2008/layout/VerticalCurvedList"/>
    <dgm:cxn modelId="{A499EA57-5C4E-5142-9F95-C55D63A9DE70}" type="presParOf" srcId="{AC6C78AA-D9A3-FA46-9CC5-9F563142BB1B}" destId="{8738038E-661A-BB4A-A29D-CF1A8F21CE29}" srcOrd="3" destOrd="0" presId="urn:microsoft.com/office/officeart/2008/layout/VerticalCurvedList"/>
    <dgm:cxn modelId="{339A1186-1966-A343-998A-403168ADC852}" type="presParOf" srcId="{BF12137C-14A3-2E46-A784-9AFCAB828D6C}" destId="{C53C6827-930E-1A4E-8C8A-9F7275335C27}" srcOrd="1" destOrd="0" presId="urn:microsoft.com/office/officeart/2008/layout/VerticalCurvedList"/>
    <dgm:cxn modelId="{E8984952-BF63-914A-BE46-DF57968145B7}" type="presParOf" srcId="{BF12137C-14A3-2E46-A784-9AFCAB828D6C}" destId="{88E015C7-501D-6342-BD3D-F877C815EE9B}" srcOrd="2" destOrd="0" presId="urn:microsoft.com/office/officeart/2008/layout/VerticalCurvedList"/>
    <dgm:cxn modelId="{FEF7A925-075F-BA44-955D-81E346350E50}" type="presParOf" srcId="{88E015C7-501D-6342-BD3D-F877C815EE9B}" destId="{1A95E120-89BB-1947-B752-24181DA708BE}" srcOrd="0" destOrd="0" presId="urn:microsoft.com/office/officeart/2008/layout/VerticalCurvedList"/>
    <dgm:cxn modelId="{D7BB17BD-3DD2-9D41-A020-2F1886BB1655}" type="presParOf" srcId="{BF12137C-14A3-2E46-A784-9AFCAB828D6C}" destId="{A4ED58E0-A177-9048-A733-42E78819C5B8}" srcOrd="3" destOrd="0" presId="urn:microsoft.com/office/officeart/2008/layout/VerticalCurvedList"/>
    <dgm:cxn modelId="{02B441D9-B3DF-E54D-84B7-AD08BC1290DE}" type="presParOf" srcId="{BF12137C-14A3-2E46-A784-9AFCAB828D6C}" destId="{243AE4B7-B885-4B41-901A-F223FC9C47C1}" srcOrd="4" destOrd="0" presId="urn:microsoft.com/office/officeart/2008/layout/VerticalCurvedList"/>
    <dgm:cxn modelId="{CB603D3F-5E45-5448-9B02-9D6F2B76FB9F}" type="presParOf" srcId="{243AE4B7-B885-4B41-901A-F223FC9C47C1}" destId="{8BD879D5-6C99-2D4B-AFE5-D8BB0ECE54A4}" srcOrd="0" destOrd="0" presId="urn:microsoft.com/office/officeart/2008/layout/VerticalCurvedList"/>
    <dgm:cxn modelId="{7936375F-F908-D14F-891F-8FFC6720C2E7}" type="presParOf" srcId="{BF12137C-14A3-2E46-A784-9AFCAB828D6C}" destId="{3BCB405A-2BCE-D942-B399-7BC3AF954513}" srcOrd="5" destOrd="0" presId="urn:microsoft.com/office/officeart/2008/layout/VerticalCurvedList"/>
    <dgm:cxn modelId="{A4D2A758-2BC0-C04E-891A-0B8237DB06ED}" type="presParOf" srcId="{BF12137C-14A3-2E46-A784-9AFCAB828D6C}" destId="{7C19B1B0-3BD7-754E-AD34-F8EA476CC13F}" srcOrd="6" destOrd="0" presId="urn:microsoft.com/office/officeart/2008/layout/VerticalCurvedList"/>
    <dgm:cxn modelId="{A9E95F2B-418A-5E45-8AB4-0919EDF56612}" type="presParOf" srcId="{7C19B1B0-3BD7-754E-AD34-F8EA476CC13F}" destId="{45467174-D124-8848-9733-B54F52B065A1}" srcOrd="0" destOrd="0" presId="urn:microsoft.com/office/officeart/2008/layout/VerticalCurvedList"/>
    <dgm:cxn modelId="{C634671C-FEFD-DD44-95D9-4CB02BA78CC3}" type="presParOf" srcId="{BF12137C-14A3-2E46-A784-9AFCAB828D6C}" destId="{55001DF0-276B-3248-A1C5-96D319467916}" srcOrd="7" destOrd="0" presId="urn:microsoft.com/office/officeart/2008/layout/VerticalCurvedList"/>
    <dgm:cxn modelId="{A0789511-2363-4649-B0DE-FB0B376EC7C0}" type="presParOf" srcId="{BF12137C-14A3-2E46-A784-9AFCAB828D6C}" destId="{99EE1836-1FF6-0943-AD13-1402025C670D}" srcOrd="8" destOrd="0" presId="urn:microsoft.com/office/officeart/2008/layout/VerticalCurvedList"/>
    <dgm:cxn modelId="{E65DCD30-2FF5-DA40-B682-79B9823E898F}" type="presParOf" srcId="{99EE1836-1FF6-0943-AD13-1402025C670D}" destId="{53E84DE1-3358-9147-B947-1BB2B3A74D13}" srcOrd="0" destOrd="0" presId="urn:microsoft.com/office/officeart/2008/layout/VerticalCurvedList"/>
    <dgm:cxn modelId="{80957FA6-33C6-7849-A737-EE22356A3648}" type="presParOf" srcId="{BF12137C-14A3-2E46-A784-9AFCAB828D6C}" destId="{B3F8D2C8-077A-0F44-8C45-6E16F9D2977A}" srcOrd="9" destOrd="0" presId="urn:microsoft.com/office/officeart/2008/layout/VerticalCurvedList"/>
    <dgm:cxn modelId="{CF0D994B-8941-EE40-8286-6E8EBE77AFF8}" type="presParOf" srcId="{BF12137C-14A3-2E46-A784-9AFCAB828D6C}" destId="{C29FD85C-1D97-D042-9E55-48A603AC1619}" srcOrd="10" destOrd="0" presId="urn:microsoft.com/office/officeart/2008/layout/VerticalCurvedList"/>
    <dgm:cxn modelId="{0F30501E-C076-FB4E-A4DF-E56902E1927F}" type="presParOf" srcId="{C29FD85C-1D97-D042-9E55-48A603AC1619}" destId="{042AA417-94A3-1D42-82E1-9BDDBFE67E38}" srcOrd="0" destOrd="0" presId="urn:microsoft.com/office/officeart/2008/layout/VerticalCurvedList"/>
    <dgm:cxn modelId="{6D0DD856-1C4C-E848-952E-F25FC451E76F}" type="presParOf" srcId="{BF12137C-14A3-2E46-A784-9AFCAB828D6C}" destId="{4DBD36D8-829A-4B44-A43B-2FF0B5D40880}" srcOrd="11" destOrd="0" presId="urn:microsoft.com/office/officeart/2008/layout/VerticalCurvedList"/>
    <dgm:cxn modelId="{ACAD135D-2A08-E745-9C17-4DB268C31842}" type="presParOf" srcId="{BF12137C-14A3-2E46-A784-9AFCAB828D6C}" destId="{9B6DF6BC-DBF1-8445-BDF4-7B275B3E9505}" srcOrd="12" destOrd="0" presId="urn:microsoft.com/office/officeart/2008/layout/VerticalCurvedList"/>
    <dgm:cxn modelId="{52FFCB40-8AE0-784C-859F-2B485043C2DB}" type="presParOf" srcId="{9B6DF6BC-DBF1-8445-BDF4-7B275B3E9505}" destId="{0C1DB10A-E691-F746-BD0C-B70BC01D07D3}"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2DAF4BBD-EFB7-9A48-8299-7DF046A95DAE}" type="doc">
      <dgm:prSet loTypeId="urn:microsoft.com/office/officeart/2005/8/layout/hierarchy2" loCatId="" qsTypeId="urn:microsoft.com/office/officeart/2005/8/quickstyle/simple1" qsCatId="simple" csTypeId="urn:microsoft.com/office/officeart/2005/8/colors/accent0_1" csCatId="mainScheme" phldr="1"/>
      <dgm:spPr/>
      <dgm:t>
        <a:bodyPr/>
        <a:lstStyle/>
        <a:p>
          <a:endParaRPr lang="en-US"/>
        </a:p>
      </dgm:t>
    </dgm:pt>
    <dgm:pt modelId="{AE6D0EC3-E7A6-D045-8AB3-B0296302B3C8}">
      <dgm:prSet phldrT="[Text]"/>
      <dgm:spPr>
        <a:solidFill>
          <a:srgbClr val="D5D5D5"/>
        </a:solidFill>
        <a:ln w="12700"/>
      </dgm:spPr>
      <dgm:t>
        <a:bodyPr/>
        <a:lstStyle/>
        <a:p>
          <a:r>
            <a:rPr lang="en-US"/>
            <a:t>More Epochs</a:t>
          </a:r>
        </a:p>
      </dgm:t>
    </dgm:pt>
    <dgm:pt modelId="{5AE40FCC-7755-E043-9AA7-75A897154F29}" type="parTrans" cxnId="{8802497C-9BB2-9B4D-95FA-75518E50D8B3}">
      <dgm:prSet/>
      <dgm:spPr/>
      <dgm:t>
        <a:bodyPr/>
        <a:lstStyle/>
        <a:p>
          <a:endParaRPr lang="en-US"/>
        </a:p>
      </dgm:t>
    </dgm:pt>
    <dgm:pt modelId="{25A90E26-FCCF-174A-9162-E3270CA9F41C}" type="sibTrans" cxnId="{8802497C-9BB2-9B4D-95FA-75518E50D8B3}">
      <dgm:prSet/>
      <dgm:spPr/>
      <dgm:t>
        <a:bodyPr/>
        <a:lstStyle/>
        <a:p>
          <a:endParaRPr lang="en-US"/>
        </a:p>
      </dgm:t>
    </dgm:pt>
    <dgm:pt modelId="{8E33786C-5288-844C-9E85-9F1174597C6C}">
      <dgm:prSet phldrT="[Text]"/>
      <dgm:spPr>
        <a:solidFill>
          <a:srgbClr val="D5D5D5"/>
        </a:solidFill>
        <a:ln w="12700"/>
      </dgm:spPr>
      <dgm:t>
        <a:bodyPr/>
        <a:lstStyle/>
        <a:p>
          <a:r>
            <a:rPr lang="en-US"/>
            <a:t>Early Stopping</a:t>
          </a:r>
        </a:p>
      </dgm:t>
    </dgm:pt>
    <dgm:pt modelId="{2208AA59-BB78-D143-9507-48EBC648E503}" type="parTrans" cxnId="{F3899365-8A7A-6F4F-B8B4-2F39B6FD8EE9}">
      <dgm:prSet/>
      <dgm:spPr/>
      <dgm:t>
        <a:bodyPr/>
        <a:lstStyle/>
        <a:p>
          <a:endParaRPr lang="en-US"/>
        </a:p>
      </dgm:t>
    </dgm:pt>
    <dgm:pt modelId="{BC82E9BE-759C-2A43-A566-B1EA37C80065}" type="sibTrans" cxnId="{F3899365-8A7A-6F4F-B8B4-2F39B6FD8EE9}">
      <dgm:prSet/>
      <dgm:spPr/>
      <dgm:t>
        <a:bodyPr/>
        <a:lstStyle/>
        <a:p>
          <a:endParaRPr lang="en-US"/>
        </a:p>
      </dgm:t>
    </dgm:pt>
    <dgm:pt modelId="{22E819D1-6F5E-E442-B1D0-0CA8184253F7}">
      <dgm:prSet phldrT="[Text]"/>
      <dgm:spPr>
        <a:solidFill>
          <a:srgbClr val="D5D5D5"/>
        </a:solidFill>
        <a:ln w="12700"/>
      </dgm:spPr>
      <dgm:t>
        <a:bodyPr/>
        <a:lstStyle/>
        <a:p>
          <a:r>
            <a:rPr lang="en-US"/>
            <a:t>Data Augmentation</a:t>
          </a:r>
        </a:p>
      </dgm:t>
    </dgm:pt>
    <dgm:pt modelId="{97383EDB-4208-914D-B6AC-4B64C57ADCFF}" type="parTrans" cxnId="{AA24C1DC-51A9-2044-9FC3-2372C6889113}">
      <dgm:prSet/>
      <dgm:spPr/>
      <dgm:t>
        <a:bodyPr/>
        <a:lstStyle/>
        <a:p>
          <a:endParaRPr lang="en-US"/>
        </a:p>
      </dgm:t>
    </dgm:pt>
    <dgm:pt modelId="{26FAE4BB-4862-BB41-928B-A1CF0A3C93D5}" type="sibTrans" cxnId="{AA24C1DC-51A9-2044-9FC3-2372C6889113}">
      <dgm:prSet/>
      <dgm:spPr/>
      <dgm:t>
        <a:bodyPr/>
        <a:lstStyle/>
        <a:p>
          <a:endParaRPr lang="en-US"/>
        </a:p>
      </dgm:t>
    </dgm:pt>
    <dgm:pt modelId="{5041762C-0FAA-5045-8BEB-CBE937486934}">
      <dgm:prSet phldrT="[Text]"/>
      <dgm:spPr>
        <a:ln w="12700">
          <a:prstDash val="sysDot"/>
        </a:ln>
      </dgm:spPr>
      <dgm:t>
        <a:bodyPr/>
        <a:lstStyle/>
        <a:p>
          <a:pPr algn="ctr"/>
          <a:r>
            <a:rPr lang="en-US"/>
            <a:t>Random Horizontal Flipping</a:t>
          </a:r>
        </a:p>
      </dgm:t>
    </dgm:pt>
    <dgm:pt modelId="{1F332150-248E-154B-B081-906899427A6E}" type="parTrans" cxnId="{A17A7555-AAEA-D64F-A690-EFBF2E8EA5BD}">
      <dgm:prSet/>
      <dgm:spPr>
        <a:ln w="12700"/>
      </dgm:spPr>
      <dgm:t>
        <a:bodyPr/>
        <a:lstStyle/>
        <a:p>
          <a:endParaRPr lang="en-US"/>
        </a:p>
      </dgm:t>
    </dgm:pt>
    <dgm:pt modelId="{ED18179C-0F31-F648-9730-A68C6A2E7E55}" type="sibTrans" cxnId="{A17A7555-AAEA-D64F-A690-EFBF2E8EA5BD}">
      <dgm:prSet/>
      <dgm:spPr/>
      <dgm:t>
        <a:bodyPr/>
        <a:lstStyle/>
        <a:p>
          <a:endParaRPr lang="en-US"/>
        </a:p>
      </dgm:t>
    </dgm:pt>
    <dgm:pt modelId="{AC8E7823-8A7E-2240-BBB7-84C766BDEB91}">
      <dgm:prSet phldrT="[Text]"/>
      <dgm:spPr>
        <a:ln w="12700">
          <a:prstDash val="sysDot"/>
        </a:ln>
      </dgm:spPr>
      <dgm:t>
        <a:bodyPr/>
        <a:lstStyle/>
        <a:p>
          <a:pPr algn="ctr"/>
          <a:r>
            <a:rPr lang="en-US"/>
            <a:t>Random Rotation</a:t>
          </a:r>
        </a:p>
      </dgm:t>
    </dgm:pt>
    <dgm:pt modelId="{74CFF98C-94BB-8641-9022-7E22E08D2469}" type="parTrans" cxnId="{3E4A5429-8BCA-944D-AB8D-720FA5999758}">
      <dgm:prSet/>
      <dgm:spPr>
        <a:ln w="12700"/>
      </dgm:spPr>
      <dgm:t>
        <a:bodyPr/>
        <a:lstStyle/>
        <a:p>
          <a:endParaRPr lang="en-US"/>
        </a:p>
      </dgm:t>
    </dgm:pt>
    <dgm:pt modelId="{615EEF69-52A3-1F40-BDCA-31FDC95C4760}" type="sibTrans" cxnId="{3E4A5429-8BCA-944D-AB8D-720FA5999758}">
      <dgm:prSet/>
      <dgm:spPr/>
      <dgm:t>
        <a:bodyPr/>
        <a:lstStyle/>
        <a:p>
          <a:endParaRPr lang="en-US"/>
        </a:p>
      </dgm:t>
    </dgm:pt>
    <dgm:pt modelId="{BB7FF6FE-797C-A44A-9D4C-CFDEEE968370}">
      <dgm:prSet phldrT="[Text]"/>
      <dgm:spPr>
        <a:ln w="12700">
          <a:prstDash val="sysDot"/>
        </a:ln>
      </dgm:spPr>
      <dgm:t>
        <a:bodyPr/>
        <a:lstStyle/>
        <a:p>
          <a:pPr algn="ctr"/>
          <a:r>
            <a:rPr lang="en-US"/>
            <a:t>Random Contrast</a:t>
          </a:r>
        </a:p>
      </dgm:t>
    </dgm:pt>
    <dgm:pt modelId="{3CE3F545-B057-374A-84F7-B2EB28713636}" type="parTrans" cxnId="{B11E9D09-882F-DE4A-A0DB-BD9AC54E36E0}">
      <dgm:prSet/>
      <dgm:spPr>
        <a:ln w="12700"/>
      </dgm:spPr>
      <dgm:t>
        <a:bodyPr/>
        <a:lstStyle/>
        <a:p>
          <a:endParaRPr lang="en-US"/>
        </a:p>
      </dgm:t>
    </dgm:pt>
    <dgm:pt modelId="{1659CE55-4891-D147-B81E-D28DB407D1A2}" type="sibTrans" cxnId="{B11E9D09-882F-DE4A-A0DB-BD9AC54E36E0}">
      <dgm:prSet/>
      <dgm:spPr/>
      <dgm:t>
        <a:bodyPr/>
        <a:lstStyle/>
        <a:p>
          <a:endParaRPr lang="en-US"/>
        </a:p>
      </dgm:t>
    </dgm:pt>
    <dgm:pt modelId="{7A4A313A-787E-D44E-9672-1ADC98137784}">
      <dgm:prSet phldrT="[Text]"/>
      <dgm:spPr>
        <a:ln w="12700">
          <a:prstDash val="sysDot"/>
        </a:ln>
      </dgm:spPr>
      <dgm:t>
        <a:bodyPr/>
        <a:lstStyle/>
        <a:p>
          <a:pPr algn="ctr"/>
          <a:r>
            <a:rPr lang="en-US"/>
            <a:t>Random Brightness</a:t>
          </a:r>
        </a:p>
      </dgm:t>
    </dgm:pt>
    <dgm:pt modelId="{561208C4-9533-2543-912A-CCB495E3ADDC}" type="parTrans" cxnId="{E7641AA6-C410-D741-BB3B-73156EDB9417}">
      <dgm:prSet/>
      <dgm:spPr>
        <a:ln w="12700"/>
      </dgm:spPr>
      <dgm:t>
        <a:bodyPr/>
        <a:lstStyle/>
        <a:p>
          <a:endParaRPr lang="en-US"/>
        </a:p>
      </dgm:t>
    </dgm:pt>
    <dgm:pt modelId="{E77B2878-3194-7341-B478-EF22FCF11484}" type="sibTrans" cxnId="{E7641AA6-C410-D741-BB3B-73156EDB9417}">
      <dgm:prSet/>
      <dgm:spPr/>
      <dgm:t>
        <a:bodyPr/>
        <a:lstStyle/>
        <a:p>
          <a:endParaRPr lang="en-US"/>
        </a:p>
      </dgm:t>
    </dgm:pt>
    <dgm:pt modelId="{DF0345FB-D31A-6C42-B0C2-A03A9B418B74}">
      <dgm:prSet phldrT="[Text]"/>
      <dgm:spPr>
        <a:ln w="12700">
          <a:prstDash val="sysDot"/>
        </a:ln>
      </dgm:spPr>
      <dgm:t>
        <a:bodyPr/>
        <a:lstStyle/>
        <a:p>
          <a:pPr algn="ctr"/>
          <a:r>
            <a:rPr lang="en-US"/>
            <a:t>Random Translation</a:t>
          </a:r>
        </a:p>
      </dgm:t>
    </dgm:pt>
    <dgm:pt modelId="{357E9776-9CAB-2944-B9E5-F706BCEBBCF8}" type="parTrans" cxnId="{E9B8FCF7-F332-2D4C-9EEF-15B53822B78F}">
      <dgm:prSet/>
      <dgm:spPr>
        <a:ln w="12700"/>
      </dgm:spPr>
      <dgm:t>
        <a:bodyPr/>
        <a:lstStyle/>
        <a:p>
          <a:endParaRPr lang="en-US"/>
        </a:p>
      </dgm:t>
    </dgm:pt>
    <dgm:pt modelId="{5EFB5E0A-DBBB-624C-A0B0-A9B342C578A9}" type="sibTrans" cxnId="{E9B8FCF7-F332-2D4C-9EEF-15B53822B78F}">
      <dgm:prSet/>
      <dgm:spPr/>
      <dgm:t>
        <a:bodyPr/>
        <a:lstStyle/>
        <a:p>
          <a:endParaRPr lang="en-US"/>
        </a:p>
      </dgm:t>
    </dgm:pt>
    <dgm:pt modelId="{1A4E3B01-8B28-D04D-BF84-EAB39B31CBB7}">
      <dgm:prSet phldrT="[Text]"/>
      <dgm:spPr>
        <a:ln w="12700">
          <a:prstDash val="sysDot"/>
        </a:ln>
      </dgm:spPr>
      <dgm:t>
        <a:bodyPr/>
        <a:lstStyle/>
        <a:p>
          <a:pPr algn="ctr"/>
          <a:r>
            <a:rPr lang="en-US"/>
            <a:t>Monitoring validation loss</a:t>
          </a:r>
        </a:p>
        <a:p>
          <a:pPr algn="ctr"/>
          <a:r>
            <a:rPr lang="en-US"/>
            <a:t> with patience = 3</a:t>
          </a:r>
        </a:p>
      </dgm:t>
    </dgm:pt>
    <dgm:pt modelId="{7A3E218D-3D08-0746-97E6-237F4F5CB815}" type="parTrans" cxnId="{25296D1B-686A-9A40-B16E-32DCA29ED994}">
      <dgm:prSet/>
      <dgm:spPr>
        <a:ln w="12700"/>
      </dgm:spPr>
      <dgm:t>
        <a:bodyPr/>
        <a:lstStyle/>
        <a:p>
          <a:endParaRPr lang="en-US"/>
        </a:p>
      </dgm:t>
    </dgm:pt>
    <dgm:pt modelId="{0C6021E1-200D-5B4B-AA17-733FEE1D745B}" type="sibTrans" cxnId="{25296D1B-686A-9A40-B16E-32DCA29ED994}">
      <dgm:prSet/>
      <dgm:spPr/>
      <dgm:t>
        <a:bodyPr/>
        <a:lstStyle/>
        <a:p>
          <a:endParaRPr lang="en-US"/>
        </a:p>
      </dgm:t>
    </dgm:pt>
    <dgm:pt modelId="{57A77E14-0104-CB4E-A025-C69028049923}">
      <dgm:prSet phldrT="[Text]"/>
      <dgm:spPr>
        <a:ln w="12700">
          <a:prstDash val="sysDot"/>
        </a:ln>
      </dgm:spPr>
      <dgm:t>
        <a:bodyPr/>
        <a:lstStyle/>
        <a:p>
          <a:pPr algn="ctr"/>
          <a:r>
            <a:rPr lang="en-US"/>
            <a:t>100 Epochs instead of only 10</a:t>
          </a:r>
        </a:p>
      </dgm:t>
    </dgm:pt>
    <dgm:pt modelId="{F753E6C5-16A1-EC4B-9327-EDE6FE299900}" type="parTrans" cxnId="{98B0EF7B-F542-E94D-9460-54CD58E04146}">
      <dgm:prSet/>
      <dgm:spPr>
        <a:ln w="12700"/>
      </dgm:spPr>
      <dgm:t>
        <a:bodyPr/>
        <a:lstStyle/>
        <a:p>
          <a:endParaRPr lang="en-US"/>
        </a:p>
      </dgm:t>
    </dgm:pt>
    <dgm:pt modelId="{F54481B6-CD36-094A-AF0D-EBD8B99677D9}" type="sibTrans" cxnId="{98B0EF7B-F542-E94D-9460-54CD58E04146}">
      <dgm:prSet/>
      <dgm:spPr/>
      <dgm:t>
        <a:bodyPr/>
        <a:lstStyle/>
        <a:p>
          <a:endParaRPr lang="en-US"/>
        </a:p>
      </dgm:t>
    </dgm:pt>
    <dgm:pt modelId="{BE89600E-7229-2241-A6CA-F9E3C89E8655}" type="pres">
      <dgm:prSet presAssocID="{2DAF4BBD-EFB7-9A48-8299-7DF046A95DAE}" presName="diagram" presStyleCnt="0">
        <dgm:presLayoutVars>
          <dgm:chPref val="1"/>
          <dgm:dir/>
          <dgm:animOne val="branch"/>
          <dgm:animLvl val="lvl"/>
          <dgm:resizeHandles val="exact"/>
        </dgm:presLayoutVars>
      </dgm:prSet>
      <dgm:spPr/>
    </dgm:pt>
    <dgm:pt modelId="{AEF36EE5-CDCF-364F-972F-73AA0BFA433E}" type="pres">
      <dgm:prSet presAssocID="{22E819D1-6F5E-E442-B1D0-0CA8184253F7}" presName="root1" presStyleCnt="0"/>
      <dgm:spPr/>
    </dgm:pt>
    <dgm:pt modelId="{9316FDD8-872F-EA44-BC31-9A613B4F3255}" type="pres">
      <dgm:prSet presAssocID="{22E819D1-6F5E-E442-B1D0-0CA8184253F7}" presName="LevelOneTextNode" presStyleLbl="node0" presStyleIdx="0" presStyleCnt="3">
        <dgm:presLayoutVars>
          <dgm:chPref val="3"/>
        </dgm:presLayoutVars>
      </dgm:prSet>
      <dgm:spPr/>
    </dgm:pt>
    <dgm:pt modelId="{8B49AF26-3242-DE4C-BB34-56F6BE523C23}" type="pres">
      <dgm:prSet presAssocID="{22E819D1-6F5E-E442-B1D0-0CA8184253F7}" presName="level2hierChild" presStyleCnt="0"/>
      <dgm:spPr/>
    </dgm:pt>
    <dgm:pt modelId="{6B26A4A9-C65E-B849-AA1F-82D89F129B6E}" type="pres">
      <dgm:prSet presAssocID="{1F332150-248E-154B-B081-906899427A6E}" presName="conn2-1" presStyleLbl="parChTrans1D2" presStyleIdx="0" presStyleCnt="7"/>
      <dgm:spPr/>
    </dgm:pt>
    <dgm:pt modelId="{1FA5D7C7-1018-294C-A438-815D40CDDAA7}" type="pres">
      <dgm:prSet presAssocID="{1F332150-248E-154B-B081-906899427A6E}" presName="connTx" presStyleLbl="parChTrans1D2" presStyleIdx="0" presStyleCnt="7"/>
      <dgm:spPr/>
    </dgm:pt>
    <dgm:pt modelId="{DFD41DF3-60A9-714A-B47C-CDE1708C5710}" type="pres">
      <dgm:prSet presAssocID="{5041762C-0FAA-5045-8BEB-CBE937486934}" presName="root2" presStyleCnt="0"/>
      <dgm:spPr/>
    </dgm:pt>
    <dgm:pt modelId="{A91BF052-F138-3147-A5C5-C502BE45B08F}" type="pres">
      <dgm:prSet presAssocID="{5041762C-0FAA-5045-8BEB-CBE937486934}" presName="LevelTwoTextNode" presStyleLbl="node2" presStyleIdx="0" presStyleCnt="7" custScaleX="207553">
        <dgm:presLayoutVars>
          <dgm:chPref val="3"/>
        </dgm:presLayoutVars>
      </dgm:prSet>
      <dgm:spPr/>
    </dgm:pt>
    <dgm:pt modelId="{D515D3D4-EBCD-E344-AAB6-DA4345B463EB}" type="pres">
      <dgm:prSet presAssocID="{5041762C-0FAA-5045-8BEB-CBE937486934}" presName="level3hierChild" presStyleCnt="0"/>
      <dgm:spPr/>
    </dgm:pt>
    <dgm:pt modelId="{C8E6C50F-C079-7745-9765-1B439824A3F9}" type="pres">
      <dgm:prSet presAssocID="{74CFF98C-94BB-8641-9022-7E22E08D2469}" presName="conn2-1" presStyleLbl="parChTrans1D2" presStyleIdx="1" presStyleCnt="7"/>
      <dgm:spPr/>
    </dgm:pt>
    <dgm:pt modelId="{3F1749A4-7DF3-E547-B6D0-3AA647C0FC04}" type="pres">
      <dgm:prSet presAssocID="{74CFF98C-94BB-8641-9022-7E22E08D2469}" presName="connTx" presStyleLbl="parChTrans1D2" presStyleIdx="1" presStyleCnt="7"/>
      <dgm:spPr/>
    </dgm:pt>
    <dgm:pt modelId="{78C6E632-0FF0-DD42-8C12-E0601EF89939}" type="pres">
      <dgm:prSet presAssocID="{AC8E7823-8A7E-2240-BBB7-84C766BDEB91}" presName="root2" presStyleCnt="0"/>
      <dgm:spPr/>
    </dgm:pt>
    <dgm:pt modelId="{80BDAAB5-E8DA-A24A-B2B3-2FE7DC97A2EE}" type="pres">
      <dgm:prSet presAssocID="{AC8E7823-8A7E-2240-BBB7-84C766BDEB91}" presName="LevelTwoTextNode" presStyleLbl="node2" presStyleIdx="1" presStyleCnt="7" custScaleX="207553">
        <dgm:presLayoutVars>
          <dgm:chPref val="3"/>
        </dgm:presLayoutVars>
      </dgm:prSet>
      <dgm:spPr/>
    </dgm:pt>
    <dgm:pt modelId="{964392E8-FB59-A84F-BEE1-142AA8B3A92F}" type="pres">
      <dgm:prSet presAssocID="{AC8E7823-8A7E-2240-BBB7-84C766BDEB91}" presName="level3hierChild" presStyleCnt="0"/>
      <dgm:spPr/>
    </dgm:pt>
    <dgm:pt modelId="{156175B4-C4FE-484F-B6B4-0630C84E9C24}" type="pres">
      <dgm:prSet presAssocID="{3CE3F545-B057-374A-84F7-B2EB28713636}" presName="conn2-1" presStyleLbl="parChTrans1D2" presStyleIdx="2" presStyleCnt="7"/>
      <dgm:spPr/>
    </dgm:pt>
    <dgm:pt modelId="{2AA2AABB-58C6-5949-B0DB-6D5C2A7CE1A7}" type="pres">
      <dgm:prSet presAssocID="{3CE3F545-B057-374A-84F7-B2EB28713636}" presName="connTx" presStyleLbl="parChTrans1D2" presStyleIdx="2" presStyleCnt="7"/>
      <dgm:spPr/>
    </dgm:pt>
    <dgm:pt modelId="{3FDC98D5-D2B1-D243-8A1A-EB584458C86D}" type="pres">
      <dgm:prSet presAssocID="{BB7FF6FE-797C-A44A-9D4C-CFDEEE968370}" presName="root2" presStyleCnt="0"/>
      <dgm:spPr/>
    </dgm:pt>
    <dgm:pt modelId="{86CFBC85-1771-7343-A37E-3353824A39E5}" type="pres">
      <dgm:prSet presAssocID="{BB7FF6FE-797C-A44A-9D4C-CFDEEE968370}" presName="LevelTwoTextNode" presStyleLbl="node2" presStyleIdx="2" presStyleCnt="7" custScaleX="207553">
        <dgm:presLayoutVars>
          <dgm:chPref val="3"/>
        </dgm:presLayoutVars>
      </dgm:prSet>
      <dgm:spPr/>
    </dgm:pt>
    <dgm:pt modelId="{B9985F90-E938-824D-A064-2A7311267E66}" type="pres">
      <dgm:prSet presAssocID="{BB7FF6FE-797C-A44A-9D4C-CFDEEE968370}" presName="level3hierChild" presStyleCnt="0"/>
      <dgm:spPr/>
    </dgm:pt>
    <dgm:pt modelId="{F33EFA89-C3CF-844D-B8F5-656013CE8860}" type="pres">
      <dgm:prSet presAssocID="{561208C4-9533-2543-912A-CCB495E3ADDC}" presName="conn2-1" presStyleLbl="parChTrans1D2" presStyleIdx="3" presStyleCnt="7"/>
      <dgm:spPr/>
    </dgm:pt>
    <dgm:pt modelId="{1B3013AB-06E2-D34E-8859-6598ED9B26E5}" type="pres">
      <dgm:prSet presAssocID="{561208C4-9533-2543-912A-CCB495E3ADDC}" presName="connTx" presStyleLbl="parChTrans1D2" presStyleIdx="3" presStyleCnt="7"/>
      <dgm:spPr/>
    </dgm:pt>
    <dgm:pt modelId="{BA61C7DA-3A51-AF44-953C-B1CFADAC2047}" type="pres">
      <dgm:prSet presAssocID="{7A4A313A-787E-D44E-9672-1ADC98137784}" presName="root2" presStyleCnt="0"/>
      <dgm:spPr/>
    </dgm:pt>
    <dgm:pt modelId="{6F3DD340-3A24-AC4E-B181-C736346881E5}" type="pres">
      <dgm:prSet presAssocID="{7A4A313A-787E-D44E-9672-1ADC98137784}" presName="LevelTwoTextNode" presStyleLbl="node2" presStyleIdx="3" presStyleCnt="7" custScaleX="207553">
        <dgm:presLayoutVars>
          <dgm:chPref val="3"/>
        </dgm:presLayoutVars>
      </dgm:prSet>
      <dgm:spPr/>
    </dgm:pt>
    <dgm:pt modelId="{4B1C90F7-7F92-814D-96B3-63C5EB649C3A}" type="pres">
      <dgm:prSet presAssocID="{7A4A313A-787E-D44E-9672-1ADC98137784}" presName="level3hierChild" presStyleCnt="0"/>
      <dgm:spPr/>
    </dgm:pt>
    <dgm:pt modelId="{87EBF2E3-4441-C44D-B465-DBEFDB3995B0}" type="pres">
      <dgm:prSet presAssocID="{357E9776-9CAB-2944-B9E5-F706BCEBBCF8}" presName="conn2-1" presStyleLbl="parChTrans1D2" presStyleIdx="4" presStyleCnt="7"/>
      <dgm:spPr/>
    </dgm:pt>
    <dgm:pt modelId="{05FB8D24-7AAF-5B4F-9921-5708F2B2594A}" type="pres">
      <dgm:prSet presAssocID="{357E9776-9CAB-2944-B9E5-F706BCEBBCF8}" presName="connTx" presStyleLbl="parChTrans1D2" presStyleIdx="4" presStyleCnt="7"/>
      <dgm:spPr/>
    </dgm:pt>
    <dgm:pt modelId="{C4E96CA2-A799-DB4E-A4CA-D6339208C72D}" type="pres">
      <dgm:prSet presAssocID="{DF0345FB-D31A-6C42-B0C2-A03A9B418B74}" presName="root2" presStyleCnt="0"/>
      <dgm:spPr/>
    </dgm:pt>
    <dgm:pt modelId="{06EF309D-A05E-8440-9447-8E0652C9938E}" type="pres">
      <dgm:prSet presAssocID="{DF0345FB-D31A-6C42-B0C2-A03A9B418B74}" presName="LevelTwoTextNode" presStyleLbl="node2" presStyleIdx="4" presStyleCnt="7" custScaleX="207553">
        <dgm:presLayoutVars>
          <dgm:chPref val="3"/>
        </dgm:presLayoutVars>
      </dgm:prSet>
      <dgm:spPr/>
    </dgm:pt>
    <dgm:pt modelId="{ACFEA204-12BF-2A42-A46F-6012E2C1868C}" type="pres">
      <dgm:prSet presAssocID="{DF0345FB-D31A-6C42-B0C2-A03A9B418B74}" presName="level3hierChild" presStyleCnt="0"/>
      <dgm:spPr/>
    </dgm:pt>
    <dgm:pt modelId="{C986173D-B6CA-2A48-9E93-11C63FD43536}" type="pres">
      <dgm:prSet presAssocID="{AE6D0EC3-E7A6-D045-8AB3-B0296302B3C8}" presName="root1" presStyleCnt="0"/>
      <dgm:spPr/>
    </dgm:pt>
    <dgm:pt modelId="{82151661-3278-AC41-97E0-24581590B11E}" type="pres">
      <dgm:prSet presAssocID="{AE6D0EC3-E7A6-D045-8AB3-B0296302B3C8}" presName="LevelOneTextNode" presStyleLbl="node0" presStyleIdx="1" presStyleCnt="3">
        <dgm:presLayoutVars>
          <dgm:chPref val="3"/>
        </dgm:presLayoutVars>
      </dgm:prSet>
      <dgm:spPr/>
    </dgm:pt>
    <dgm:pt modelId="{E0DB2F7E-6896-BE41-B081-AE60455179CB}" type="pres">
      <dgm:prSet presAssocID="{AE6D0EC3-E7A6-D045-8AB3-B0296302B3C8}" presName="level2hierChild" presStyleCnt="0"/>
      <dgm:spPr/>
    </dgm:pt>
    <dgm:pt modelId="{C1B782B6-8491-E448-9003-0B1725918558}" type="pres">
      <dgm:prSet presAssocID="{F753E6C5-16A1-EC4B-9327-EDE6FE299900}" presName="conn2-1" presStyleLbl="parChTrans1D2" presStyleIdx="5" presStyleCnt="7"/>
      <dgm:spPr/>
    </dgm:pt>
    <dgm:pt modelId="{64E5F9E2-5ED7-9B46-8B16-08129E7F6901}" type="pres">
      <dgm:prSet presAssocID="{F753E6C5-16A1-EC4B-9327-EDE6FE299900}" presName="connTx" presStyleLbl="parChTrans1D2" presStyleIdx="5" presStyleCnt="7"/>
      <dgm:spPr/>
    </dgm:pt>
    <dgm:pt modelId="{F5EC76F4-47EB-E746-9598-F9A0F1C1A32D}" type="pres">
      <dgm:prSet presAssocID="{57A77E14-0104-CB4E-A025-C69028049923}" presName="root2" presStyleCnt="0"/>
      <dgm:spPr/>
    </dgm:pt>
    <dgm:pt modelId="{FA2F917F-A778-6E40-A6A2-326312421619}" type="pres">
      <dgm:prSet presAssocID="{57A77E14-0104-CB4E-A025-C69028049923}" presName="LevelTwoTextNode" presStyleLbl="node2" presStyleIdx="5" presStyleCnt="7" custScaleX="207553">
        <dgm:presLayoutVars>
          <dgm:chPref val="3"/>
        </dgm:presLayoutVars>
      </dgm:prSet>
      <dgm:spPr/>
    </dgm:pt>
    <dgm:pt modelId="{E72CF8F4-F4C4-B54E-A8BD-FFC080FC3FB2}" type="pres">
      <dgm:prSet presAssocID="{57A77E14-0104-CB4E-A025-C69028049923}" presName="level3hierChild" presStyleCnt="0"/>
      <dgm:spPr/>
    </dgm:pt>
    <dgm:pt modelId="{4A0C4D72-A0E1-4B41-B9E2-8516946458AD}" type="pres">
      <dgm:prSet presAssocID="{8E33786C-5288-844C-9E85-9F1174597C6C}" presName="root1" presStyleCnt="0"/>
      <dgm:spPr/>
    </dgm:pt>
    <dgm:pt modelId="{973D98EC-B6C3-EE43-BF98-66E290A8CF80}" type="pres">
      <dgm:prSet presAssocID="{8E33786C-5288-844C-9E85-9F1174597C6C}" presName="LevelOneTextNode" presStyleLbl="node0" presStyleIdx="2" presStyleCnt="3">
        <dgm:presLayoutVars>
          <dgm:chPref val="3"/>
        </dgm:presLayoutVars>
      </dgm:prSet>
      <dgm:spPr/>
    </dgm:pt>
    <dgm:pt modelId="{1FEE0603-5ED6-9347-81FE-E56668B63256}" type="pres">
      <dgm:prSet presAssocID="{8E33786C-5288-844C-9E85-9F1174597C6C}" presName="level2hierChild" presStyleCnt="0"/>
      <dgm:spPr/>
    </dgm:pt>
    <dgm:pt modelId="{30CA4377-8D46-3B40-9738-1063EC96EC0D}" type="pres">
      <dgm:prSet presAssocID="{7A3E218D-3D08-0746-97E6-237F4F5CB815}" presName="conn2-1" presStyleLbl="parChTrans1D2" presStyleIdx="6" presStyleCnt="7"/>
      <dgm:spPr/>
    </dgm:pt>
    <dgm:pt modelId="{2F6569F0-D6B7-5D40-AAE8-85C23CA6F927}" type="pres">
      <dgm:prSet presAssocID="{7A3E218D-3D08-0746-97E6-237F4F5CB815}" presName="connTx" presStyleLbl="parChTrans1D2" presStyleIdx="6" presStyleCnt="7"/>
      <dgm:spPr/>
    </dgm:pt>
    <dgm:pt modelId="{BAD87828-6BB2-7C47-ACF7-1D9857AE7FF8}" type="pres">
      <dgm:prSet presAssocID="{1A4E3B01-8B28-D04D-BF84-EAB39B31CBB7}" presName="root2" presStyleCnt="0"/>
      <dgm:spPr/>
    </dgm:pt>
    <dgm:pt modelId="{05929E7C-CD3F-7640-8C66-E284486EE659}" type="pres">
      <dgm:prSet presAssocID="{1A4E3B01-8B28-D04D-BF84-EAB39B31CBB7}" presName="LevelTwoTextNode" presStyleLbl="node2" presStyleIdx="6" presStyleCnt="7" custScaleX="207553">
        <dgm:presLayoutVars>
          <dgm:chPref val="3"/>
        </dgm:presLayoutVars>
      </dgm:prSet>
      <dgm:spPr/>
    </dgm:pt>
    <dgm:pt modelId="{1CC5488A-23A0-634E-A16B-69D3EF8A9375}" type="pres">
      <dgm:prSet presAssocID="{1A4E3B01-8B28-D04D-BF84-EAB39B31CBB7}" presName="level3hierChild" presStyleCnt="0"/>
      <dgm:spPr/>
    </dgm:pt>
  </dgm:ptLst>
  <dgm:cxnLst>
    <dgm:cxn modelId="{B4A70A01-3FB2-0048-A4B4-0A8A51626E26}" type="presOf" srcId="{AC8E7823-8A7E-2240-BBB7-84C766BDEB91}" destId="{80BDAAB5-E8DA-A24A-B2B3-2FE7DC97A2EE}" srcOrd="0" destOrd="0" presId="urn:microsoft.com/office/officeart/2005/8/layout/hierarchy2"/>
    <dgm:cxn modelId="{DA608A01-3527-ED49-8BFD-D28BDC83E191}" type="presOf" srcId="{3CE3F545-B057-374A-84F7-B2EB28713636}" destId="{156175B4-C4FE-484F-B6B4-0630C84E9C24}" srcOrd="0" destOrd="0" presId="urn:microsoft.com/office/officeart/2005/8/layout/hierarchy2"/>
    <dgm:cxn modelId="{9C5A8008-B6CE-2E43-BDE2-A4238BE42DDF}" type="presOf" srcId="{1F332150-248E-154B-B081-906899427A6E}" destId="{1FA5D7C7-1018-294C-A438-815D40CDDAA7}" srcOrd="1" destOrd="0" presId="urn:microsoft.com/office/officeart/2005/8/layout/hierarchy2"/>
    <dgm:cxn modelId="{B11E9D09-882F-DE4A-A0DB-BD9AC54E36E0}" srcId="{22E819D1-6F5E-E442-B1D0-0CA8184253F7}" destId="{BB7FF6FE-797C-A44A-9D4C-CFDEEE968370}" srcOrd="2" destOrd="0" parTransId="{3CE3F545-B057-374A-84F7-B2EB28713636}" sibTransId="{1659CE55-4891-D147-B81E-D28DB407D1A2}"/>
    <dgm:cxn modelId="{6279AF0B-A0A5-1544-A645-EC41042E91EC}" type="presOf" srcId="{7A3E218D-3D08-0746-97E6-237F4F5CB815}" destId="{30CA4377-8D46-3B40-9738-1063EC96EC0D}" srcOrd="0" destOrd="0" presId="urn:microsoft.com/office/officeart/2005/8/layout/hierarchy2"/>
    <dgm:cxn modelId="{AC4B6112-98FD-A94B-83B0-C01E5CDAE7B5}" type="presOf" srcId="{8E33786C-5288-844C-9E85-9F1174597C6C}" destId="{973D98EC-B6C3-EE43-BF98-66E290A8CF80}" srcOrd="0" destOrd="0" presId="urn:microsoft.com/office/officeart/2005/8/layout/hierarchy2"/>
    <dgm:cxn modelId="{25296D1B-686A-9A40-B16E-32DCA29ED994}" srcId="{8E33786C-5288-844C-9E85-9F1174597C6C}" destId="{1A4E3B01-8B28-D04D-BF84-EAB39B31CBB7}" srcOrd="0" destOrd="0" parTransId="{7A3E218D-3D08-0746-97E6-237F4F5CB815}" sibTransId="{0C6021E1-200D-5B4B-AA17-733FEE1D745B}"/>
    <dgm:cxn modelId="{BAC2581F-AF8A-254E-B4B3-37106221DA59}" type="presOf" srcId="{74CFF98C-94BB-8641-9022-7E22E08D2469}" destId="{C8E6C50F-C079-7745-9765-1B439824A3F9}" srcOrd="0" destOrd="0" presId="urn:microsoft.com/office/officeart/2005/8/layout/hierarchy2"/>
    <dgm:cxn modelId="{9D186424-50AF-0241-A857-5D5A5FDDC727}" type="presOf" srcId="{357E9776-9CAB-2944-B9E5-F706BCEBBCF8}" destId="{05FB8D24-7AAF-5B4F-9921-5708F2B2594A}" srcOrd="1" destOrd="0" presId="urn:microsoft.com/office/officeart/2005/8/layout/hierarchy2"/>
    <dgm:cxn modelId="{3E4A5429-8BCA-944D-AB8D-720FA5999758}" srcId="{22E819D1-6F5E-E442-B1D0-0CA8184253F7}" destId="{AC8E7823-8A7E-2240-BBB7-84C766BDEB91}" srcOrd="1" destOrd="0" parTransId="{74CFF98C-94BB-8641-9022-7E22E08D2469}" sibTransId="{615EEF69-52A3-1F40-BDCA-31FDC95C4760}"/>
    <dgm:cxn modelId="{284E112A-A311-9E41-B2DD-DD798FE15A49}" type="presOf" srcId="{2DAF4BBD-EFB7-9A48-8299-7DF046A95DAE}" destId="{BE89600E-7229-2241-A6CA-F9E3C89E8655}" srcOrd="0" destOrd="0" presId="urn:microsoft.com/office/officeart/2005/8/layout/hierarchy2"/>
    <dgm:cxn modelId="{670C7E3D-2A29-9B4E-B456-027999FBE1C1}" type="presOf" srcId="{57A77E14-0104-CB4E-A025-C69028049923}" destId="{FA2F917F-A778-6E40-A6A2-326312421619}" srcOrd="0" destOrd="0" presId="urn:microsoft.com/office/officeart/2005/8/layout/hierarchy2"/>
    <dgm:cxn modelId="{AB20B340-90D4-194E-9659-E36CE3DC2FD5}" type="presOf" srcId="{357E9776-9CAB-2944-B9E5-F706BCEBBCF8}" destId="{87EBF2E3-4441-C44D-B465-DBEFDB3995B0}" srcOrd="0" destOrd="0" presId="urn:microsoft.com/office/officeart/2005/8/layout/hierarchy2"/>
    <dgm:cxn modelId="{6B9C0043-6C79-D74C-982D-AA4E5644D5DF}" type="presOf" srcId="{7A3E218D-3D08-0746-97E6-237F4F5CB815}" destId="{2F6569F0-D6B7-5D40-AAE8-85C23CA6F927}" srcOrd="1" destOrd="0" presId="urn:microsoft.com/office/officeart/2005/8/layout/hierarchy2"/>
    <dgm:cxn modelId="{F3899365-8A7A-6F4F-B8B4-2F39B6FD8EE9}" srcId="{2DAF4BBD-EFB7-9A48-8299-7DF046A95DAE}" destId="{8E33786C-5288-844C-9E85-9F1174597C6C}" srcOrd="2" destOrd="0" parTransId="{2208AA59-BB78-D143-9507-48EBC648E503}" sibTransId="{BC82E9BE-759C-2A43-A566-B1EA37C80065}"/>
    <dgm:cxn modelId="{065CD26A-DBBB-D640-ADC4-1AA45CADCE8A}" type="presOf" srcId="{F753E6C5-16A1-EC4B-9327-EDE6FE299900}" destId="{64E5F9E2-5ED7-9B46-8B16-08129E7F6901}" srcOrd="1" destOrd="0" presId="urn:microsoft.com/office/officeart/2005/8/layout/hierarchy2"/>
    <dgm:cxn modelId="{9492DC6E-06E8-8E4D-A4B1-858F110E213E}" type="presOf" srcId="{1F332150-248E-154B-B081-906899427A6E}" destId="{6B26A4A9-C65E-B849-AA1F-82D89F129B6E}" srcOrd="0" destOrd="0" presId="urn:microsoft.com/office/officeart/2005/8/layout/hierarchy2"/>
    <dgm:cxn modelId="{A17A7555-AAEA-D64F-A690-EFBF2E8EA5BD}" srcId="{22E819D1-6F5E-E442-B1D0-0CA8184253F7}" destId="{5041762C-0FAA-5045-8BEB-CBE937486934}" srcOrd="0" destOrd="0" parTransId="{1F332150-248E-154B-B081-906899427A6E}" sibTransId="{ED18179C-0F31-F648-9730-A68C6A2E7E55}"/>
    <dgm:cxn modelId="{98B0EF7B-F542-E94D-9460-54CD58E04146}" srcId="{AE6D0EC3-E7A6-D045-8AB3-B0296302B3C8}" destId="{57A77E14-0104-CB4E-A025-C69028049923}" srcOrd="0" destOrd="0" parTransId="{F753E6C5-16A1-EC4B-9327-EDE6FE299900}" sibTransId="{F54481B6-CD36-094A-AF0D-EBD8B99677D9}"/>
    <dgm:cxn modelId="{8802497C-9BB2-9B4D-95FA-75518E50D8B3}" srcId="{2DAF4BBD-EFB7-9A48-8299-7DF046A95DAE}" destId="{AE6D0EC3-E7A6-D045-8AB3-B0296302B3C8}" srcOrd="1" destOrd="0" parTransId="{5AE40FCC-7755-E043-9AA7-75A897154F29}" sibTransId="{25A90E26-FCCF-174A-9162-E3270CA9F41C}"/>
    <dgm:cxn modelId="{3585897F-BF4B-AC46-859A-2491D9D48854}" type="presOf" srcId="{F753E6C5-16A1-EC4B-9327-EDE6FE299900}" destId="{C1B782B6-8491-E448-9003-0B1725918558}" srcOrd="0" destOrd="0" presId="urn:microsoft.com/office/officeart/2005/8/layout/hierarchy2"/>
    <dgm:cxn modelId="{1836B581-01FE-4B42-8843-68D4C7B50521}" type="presOf" srcId="{DF0345FB-D31A-6C42-B0C2-A03A9B418B74}" destId="{06EF309D-A05E-8440-9447-8E0652C9938E}" srcOrd="0" destOrd="0" presId="urn:microsoft.com/office/officeart/2005/8/layout/hierarchy2"/>
    <dgm:cxn modelId="{A660A486-4AD8-6642-8D29-CD8E83881429}" type="presOf" srcId="{561208C4-9533-2543-912A-CCB495E3ADDC}" destId="{1B3013AB-06E2-D34E-8859-6598ED9B26E5}" srcOrd="1" destOrd="0" presId="urn:microsoft.com/office/officeart/2005/8/layout/hierarchy2"/>
    <dgm:cxn modelId="{9FB9E388-D340-5C4C-9F8D-C7F869D3976F}" type="presOf" srcId="{1A4E3B01-8B28-D04D-BF84-EAB39B31CBB7}" destId="{05929E7C-CD3F-7640-8C66-E284486EE659}" srcOrd="0" destOrd="0" presId="urn:microsoft.com/office/officeart/2005/8/layout/hierarchy2"/>
    <dgm:cxn modelId="{1680C08D-17C5-7E47-A9BC-5BDABE834D0A}" type="presOf" srcId="{74CFF98C-94BB-8641-9022-7E22E08D2469}" destId="{3F1749A4-7DF3-E547-B6D0-3AA647C0FC04}" srcOrd="1" destOrd="0" presId="urn:microsoft.com/office/officeart/2005/8/layout/hierarchy2"/>
    <dgm:cxn modelId="{96D9E18E-ACEC-734D-9ADE-66B2DC4B6FD7}" type="presOf" srcId="{561208C4-9533-2543-912A-CCB495E3ADDC}" destId="{F33EFA89-C3CF-844D-B8F5-656013CE8860}" srcOrd="0" destOrd="0" presId="urn:microsoft.com/office/officeart/2005/8/layout/hierarchy2"/>
    <dgm:cxn modelId="{97F3F69F-74FE-D64B-9743-DE1917D40431}" type="presOf" srcId="{3CE3F545-B057-374A-84F7-B2EB28713636}" destId="{2AA2AABB-58C6-5949-B0DB-6D5C2A7CE1A7}" srcOrd="1" destOrd="0" presId="urn:microsoft.com/office/officeart/2005/8/layout/hierarchy2"/>
    <dgm:cxn modelId="{AED5D1A2-F2E5-6245-BB8D-18D6C07AB948}" type="presOf" srcId="{7A4A313A-787E-D44E-9672-1ADC98137784}" destId="{6F3DD340-3A24-AC4E-B181-C736346881E5}" srcOrd="0" destOrd="0" presId="urn:microsoft.com/office/officeart/2005/8/layout/hierarchy2"/>
    <dgm:cxn modelId="{E7641AA6-C410-D741-BB3B-73156EDB9417}" srcId="{22E819D1-6F5E-E442-B1D0-0CA8184253F7}" destId="{7A4A313A-787E-D44E-9672-1ADC98137784}" srcOrd="3" destOrd="0" parTransId="{561208C4-9533-2543-912A-CCB495E3ADDC}" sibTransId="{E77B2878-3194-7341-B478-EF22FCF11484}"/>
    <dgm:cxn modelId="{E5BDD6B3-92BF-3743-944D-79F9567156BB}" type="presOf" srcId="{BB7FF6FE-797C-A44A-9D4C-CFDEEE968370}" destId="{86CFBC85-1771-7343-A37E-3353824A39E5}" srcOrd="0" destOrd="0" presId="urn:microsoft.com/office/officeart/2005/8/layout/hierarchy2"/>
    <dgm:cxn modelId="{5D8ED4BC-3361-0144-A78C-4CA4E68A8AA9}" type="presOf" srcId="{5041762C-0FAA-5045-8BEB-CBE937486934}" destId="{A91BF052-F138-3147-A5C5-C502BE45B08F}" srcOrd="0" destOrd="0" presId="urn:microsoft.com/office/officeart/2005/8/layout/hierarchy2"/>
    <dgm:cxn modelId="{AA24C1DC-51A9-2044-9FC3-2372C6889113}" srcId="{2DAF4BBD-EFB7-9A48-8299-7DF046A95DAE}" destId="{22E819D1-6F5E-E442-B1D0-0CA8184253F7}" srcOrd="0" destOrd="0" parTransId="{97383EDB-4208-914D-B6AC-4B64C57ADCFF}" sibTransId="{26FAE4BB-4862-BB41-928B-A1CF0A3C93D5}"/>
    <dgm:cxn modelId="{2A420BEF-5BA8-4145-9962-386375FFB719}" type="presOf" srcId="{22E819D1-6F5E-E442-B1D0-0CA8184253F7}" destId="{9316FDD8-872F-EA44-BC31-9A613B4F3255}" srcOrd="0" destOrd="0" presId="urn:microsoft.com/office/officeart/2005/8/layout/hierarchy2"/>
    <dgm:cxn modelId="{E9B8FCF7-F332-2D4C-9EEF-15B53822B78F}" srcId="{22E819D1-6F5E-E442-B1D0-0CA8184253F7}" destId="{DF0345FB-D31A-6C42-B0C2-A03A9B418B74}" srcOrd="4" destOrd="0" parTransId="{357E9776-9CAB-2944-B9E5-F706BCEBBCF8}" sibTransId="{5EFB5E0A-DBBB-624C-A0B0-A9B342C578A9}"/>
    <dgm:cxn modelId="{BCAC6CF8-EB50-0047-8A1D-1BC9C3EB3AB4}" type="presOf" srcId="{AE6D0EC3-E7A6-D045-8AB3-B0296302B3C8}" destId="{82151661-3278-AC41-97E0-24581590B11E}" srcOrd="0" destOrd="0" presId="urn:microsoft.com/office/officeart/2005/8/layout/hierarchy2"/>
    <dgm:cxn modelId="{53043A9B-4D2B-164E-9A33-0E951D96675B}" type="presParOf" srcId="{BE89600E-7229-2241-A6CA-F9E3C89E8655}" destId="{AEF36EE5-CDCF-364F-972F-73AA0BFA433E}" srcOrd="0" destOrd="0" presId="urn:microsoft.com/office/officeart/2005/8/layout/hierarchy2"/>
    <dgm:cxn modelId="{9232F4F7-C0D3-BE4A-A118-00C14A9CC9B6}" type="presParOf" srcId="{AEF36EE5-CDCF-364F-972F-73AA0BFA433E}" destId="{9316FDD8-872F-EA44-BC31-9A613B4F3255}" srcOrd="0" destOrd="0" presId="urn:microsoft.com/office/officeart/2005/8/layout/hierarchy2"/>
    <dgm:cxn modelId="{12532BF5-13EE-4D41-B85F-1A8F36B6402D}" type="presParOf" srcId="{AEF36EE5-CDCF-364F-972F-73AA0BFA433E}" destId="{8B49AF26-3242-DE4C-BB34-56F6BE523C23}" srcOrd="1" destOrd="0" presId="urn:microsoft.com/office/officeart/2005/8/layout/hierarchy2"/>
    <dgm:cxn modelId="{6E6D7C93-BB71-424E-A183-0200B131CF84}" type="presParOf" srcId="{8B49AF26-3242-DE4C-BB34-56F6BE523C23}" destId="{6B26A4A9-C65E-B849-AA1F-82D89F129B6E}" srcOrd="0" destOrd="0" presId="urn:microsoft.com/office/officeart/2005/8/layout/hierarchy2"/>
    <dgm:cxn modelId="{6630F114-B190-D54A-B200-1B433DA27CD7}" type="presParOf" srcId="{6B26A4A9-C65E-B849-AA1F-82D89F129B6E}" destId="{1FA5D7C7-1018-294C-A438-815D40CDDAA7}" srcOrd="0" destOrd="0" presId="urn:microsoft.com/office/officeart/2005/8/layout/hierarchy2"/>
    <dgm:cxn modelId="{5BC33D71-3D4C-564A-AD5E-CDB27DEE044F}" type="presParOf" srcId="{8B49AF26-3242-DE4C-BB34-56F6BE523C23}" destId="{DFD41DF3-60A9-714A-B47C-CDE1708C5710}" srcOrd="1" destOrd="0" presId="urn:microsoft.com/office/officeart/2005/8/layout/hierarchy2"/>
    <dgm:cxn modelId="{C31F74EE-F2B2-354B-AFB5-0DABE026BE73}" type="presParOf" srcId="{DFD41DF3-60A9-714A-B47C-CDE1708C5710}" destId="{A91BF052-F138-3147-A5C5-C502BE45B08F}" srcOrd="0" destOrd="0" presId="urn:microsoft.com/office/officeart/2005/8/layout/hierarchy2"/>
    <dgm:cxn modelId="{7A02C0B9-F88C-884E-855B-CBF01880FCD5}" type="presParOf" srcId="{DFD41DF3-60A9-714A-B47C-CDE1708C5710}" destId="{D515D3D4-EBCD-E344-AAB6-DA4345B463EB}" srcOrd="1" destOrd="0" presId="urn:microsoft.com/office/officeart/2005/8/layout/hierarchy2"/>
    <dgm:cxn modelId="{52E6836F-2E7D-0146-AA92-27C1CE2CE49B}" type="presParOf" srcId="{8B49AF26-3242-DE4C-BB34-56F6BE523C23}" destId="{C8E6C50F-C079-7745-9765-1B439824A3F9}" srcOrd="2" destOrd="0" presId="urn:microsoft.com/office/officeart/2005/8/layout/hierarchy2"/>
    <dgm:cxn modelId="{CDB77088-2AA6-524D-A452-D419465D848C}" type="presParOf" srcId="{C8E6C50F-C079-7745-9765-1B439824A3F9}" destId="{3F1749A4-7DF3-E547-B6D0-3AA647C0FC04}" srcOrd="0" destOrd="0" presId="urn:microsoft.com/office/officeart/2005/8/layout/hierarchy2"/>
    <dgm:cxn modelId="{824E7497-D55A-CD4F-8226-5D794A495D1E}" type="presParOf" srcId="{8B49AF26-3242-DE4C-BB34-56F6BE523C23}" destId="{78C6E632-0FF0-DD42-8C12-E0601EF89939}" srcOrd="3" destOrd="0" presId="urn:microsoft.com/office/officeart/2005/8/layout/hierarchy2"/>
    <dgm:cxn modelId="{47279701-6D43-144D-9775-931038C98EC5}" type="presParOf" srcId="{78C6E632-0FF0-DD42-8C12-E0601EF89939}" destId="{80BDAAB5-E8DA-A24A-B2B3-2FE7DC97A2EE}" srcOrd="0" destOrd="0" presId="urn:microsoft.com/office/officeart/2005/8/layout/hierarchy2"/>
    <dgm:cxn modelId="{85810103-015A-974D-B435-933619CF662D}" type="presParOf" srcId="{78C6E632-0FF0-DD42-8C12-E0601EF89939}" destId="{964392E8-FB59-A84F-BEE1-142AA8B3A92F}" srcOrd="1" destOrd="0" presId="urn:microsoft.com/office/officeart/2005/8/layout/hierarchy2"/>
    <dgm:cxn modelId="{58CE4DDD-A84B-7843-A744-6C13B108E706}" type="presParOf" srcId="{8B49AF26-3242-DE4C-BB34-56F6BE523C23}" destId="{156175B4-C4FE-484F-B6B4-0630C84E9C24}" srcOrd="4" destOrd="0" presId="urn:microsoft.com/office/officeart/2005/8/layout/hierarchy2"/>
    <dgm:cxn modelId="{C42ABE89-94A7-2C48-9F49-FC6B83AFFACF}" type="presParOf" srcId="{156175B4-C4FE-484F-B6B4-0630C84E9C24}" destId="{2AA2AABB-58C6-5949-B0DB-6D5C2A7CE1A7}" srcOrd="0" destOrd="0" presId="urn:microsoft.com/office/officeart/2005/8/layout/hierarchy2"/>
    <dgm:cxn modelId="{7745E0C6-5F98-3941-B2F0-B46DB85FC0BC}" type="presParOf" srcId="{8B49AF26-3242-DE4C-BB34-56F6BE523C23}" destId="{3FDC98D5-D2B1-D243-8A1A-EB584458C86D}" srcOrd="5" destOrd="0" presId="urn:microsoft.com/office/officeart/2005/8/layout/hierarchy2"/>
    <dgm:cxn modelId="{2A406CFE-95FB-B148-875A-162BEA9E0EF7}" type="presParOf" srcId="{3FDC98D5-D2B1-D243-8A1A-EB584458C86D}" destId="{86CFBC85-1771-7343-A37E-3353824A39E5}" srcOrd="0" destOrd="0" presId="urn:microsoft.com/office/officeart/2005/8/layout/hierarchy2"/>
    <dgm:cxn modelId="{982B92BE-A692-464C-A701-077D399E2343}" type="presParOf" srcId="{3FDC98D5-D2B1-D243-8A1A-EB584458C86D}" destId="{B9985F90-E938-824D-A064-2A7311267E66}" srcOrd="1" destOrd="0" presId="urn:microsoft.com/office/officeart/2005/8/layout/hierarchy2"/>
    <dgm:cxn modelId="{BE74C125-1D41-3340-876B-C8B115CA3108}" type="presParOf" srcId="{8B49AF26-3242-DE4C-BB34-56F6BE523C23}" destId="{F33EFA89-C3CF-844D-B8F5-656013CE8860}" srcOrd="6" destOrd="0" presId="urn:microsoft.com/office/officeart/2005/8/layout/hierarchy2"/>
    <dgm:cxn modelId="{AA6A320F-D257-9F48-A4E8-F8F508D50DA6}" type="presParOf" srcId="{F33EFA89-C3CF-844D-B8F5-656013CE8860}" destId="{1B3013AB-06E2-D34E-8859-6598ED9B26E5}" srcOrd="0" destOrd="0" presId="urn:microsoft.com/office/officeart/2005/8/layout/hierarchy2"/>
    <dgm:cxn modelId="{01DC536B-D4DF-D149-ADED-FA635AE23A03}" type="presParOf" srcId="{8B49AF26-3242-DE4C-BB34-56F6BE523C23}" destId="{BA61C7DA-3A51-AF44-953C-B1CFADAC2047}" srcOrd="7" destOrd="0" presId="urn:microsoft.com/office/officeart/2005/8/layout/hierarchy2"/>
    <dgm:cxn modelId="{DB089D09-5792-AB42-9812-6E42FBED8A40}" type="presParOf" srcId="{BA61C7DA-3A51-AF44-953C-B1CFADAC2047}" destId="{6F3DD340-3A24-AC4E-B181-C736346881E5}" srcOrd="0" destOrd="0" presId="urn:microsoft.com/office/officeart/2005/8/layout/hierarchy2"/>
    <dgm:cxn modelId="{9C0D08FE-D783-9B4E-8E8E-F03C61B8C859}" type="presParOf" srcId="{BA61C7DA-3A51-AF44-953C-B1CFADAC2047}" destId="{4B1C90F7-7F92-814D-96B3-63C5EB649C3A}" srcOrd="1" destOrd="0" presId="urn:microsoft.com/office/officeart/2005/8/layout/hierarchy2"/>
    <dgm:cxn modelId="{5AD2193C-65AE-CC49-B1E3-7C4A3022A170}" type="presParOf" srcId="{8B49AF26-3242-DE4C-BB34-56F6BE523C23}" destId="{87EBF2E3-4441-C44D-B465-DBEFDB3995B0}" srcOrd="8" destOrd="0" presId="urn:microsoft.com/office/officeart/2005/8/layout/hierarchy2"/>
    <dgm:cxn modelId="{EE866594-22E0-9940-BD2B-A0A0D11219CF}" type="presParOf" srcId="{87EBF2E3-4441-C44D-B465-DBEFDB3995B0}" destId="{05FB8D24-7AAF-5B4F-9921-5708F2B2594A}" srcOrd="0" destOrd="0" presId="urn:microsoft.com/office/officeart/2005/8/layout/hierarchy2"/>
    <dgm:cxn modelId="{F52E68A7-EFC2-A94C-9C72-F0437A1E9255}" type="presParOf" srcId="{8B49AF26-3242-DE4C-BB34-56F6BE523C23}" destId="{C4E96CA2-A799-DB4E-A4CA-D6339208C72D}" srcOrd="9" destOrd="0" presId="urn:microsoft.com/office/officeart/2005/8/layout/hierarchy2"/>
    <dgm:cxn modelId="{C5657E32-E04C-0340-82A9-4B0A86C67B9A}" type="presParOf" srcId="{C4E96CA2-A799-DB4E-A4CA-D6339208C72D}" destId="{06EF309D-A05E-8440-9447-8E0652C9938E}" srcOrd="0" destOrd="0" presId="urn:microsoft.com/office/officeart/2005/8/layout/hierarchy2"/>
    <dgm:cxn modelId="{39D06DBE-F94E-6A4B-9F1E-2FB5CEED7C8B}" type="presParOf" srcId="{C4E96CA2-A799-DB4E-A4CA-D6339208C72D}" destId="{ACFEA204-12BF-2A42-A46F-6012E2C1868C}" srcOrd="1" destOrd="0" presId="urn:microsoft.com/office/officeart/2005/8/layout/hierarchy2"/>
    <dgm:cxn modelId="{CB8F3EBC-A999-4E46-BE75-87EBB68F4BC1}" type="presParOf" srcId="{BE89600E-7229-2241-A6CA-F9E3C89E8655}" destId="{C986173D-B6CA-2A48-9E93-11C63FD43536}" srcOrd="1" destOrd="0" presId="urn:microsoft.com/office/officeart/2005/8/layout/hierarchy2"/>
    <dgm:cxn modelId="{BF55FC2A-E8F5-9246-BE52-5B7081AFAAEC}" type="presParOf" srcId="{C986173D-B6CA-2A48-9E93-11C63FD43536}" destId="{82151661-3278-AC41-97E0-24581590B11E}" srcOrd="0" destOrd="0" presId="urn:microsoft.com/office/officeart/2005/8/layout/hierarchy2"/>
    <dgm:cxn modelId="{B04FB664-D6A8-9545-B024-50549B303045}" type="presParOf" srcId="{C986173D-B6CA-2A48-9E93-11C63FD43536}" destId="{E0DB2F7E-6896-BE41-B081-AE60455179CB}" srcOrd="1" destOrd="0" presId="urn:microsoft.com/office/officeart/2005/8/layout/hierarchy2"/>
    <dgm:cxn modelId="{8A8A5ECE-432D-E642-8CF7-DB1F2B09E5D7}" type="presParOf" srcId="{E0DB2F7E-6896-BE41-B081-AE60455179CB}" destId="{C1B782B6-8491-E448-9003-0B1725918558}" srcOrd="0" destOrd="0" presId="urn:microsoft.com/office/officeart/2005/8/layout/hierarchy2"/>
    <dgm:cxn modelId="{33C4729B-5550-6449-A8D4-E73ED85AA4EB}" type="presParOf" srcId="{C1B782B6-8491-E448-9003-0B1725918558}" destId="{64E5F9E2-5ED7-9B46-8B16-08129E7F6901}" srcOrd="0" destOrd="0" presId="urn:microsoft.com/office/officeart/2005/8/layout/hierarchy2"/>
    <dgm:cxn modelId="{E9EC1A7E-0798-894D-BD24-94AFA913A59A}" type="presParOf" srcId="{E0DB2F7E-6896-BE41-B081-AE60455179CB}" destId="{F5EC76F4-47EB-E746-9598-F9A0F1C1A32D}" srcOrd="1" destOrd="0" presId="urn:microsoft.com/office/officeart/2005/8/layout/hierarchy2"/>
    <dgm:cxn modelId="{BF1A8EA3-7734-F242-9782-B5F52A8FF145}" type="presParOf" srcId="{F5EC76F4-47EB-E746-9598-F9A0F1C1A32D}" destId="{FA2F917F-A778-6E40-A6A2-326312421619}" srcOrd="0" destOrd="0" presId="urn:microsoft.com/office/officeart/2005/8/layout/hierarchy2"/>
    <dgm:cxn modelId="{A8181137-61C1-5A4D-907B-711A87F9954D}" type="presParOf" srcId="{F5EC76F4-47EB-E746-9598-F9A0F1C1A32D}" destId="{E72CF8F4-F4C4-B54E-A8BD-FFC080FC3FB2}" srcOrd="1" destOrd="0" presId="urn:microsoft.com/office/officeart/2005/8/layout/hierarchy2"/>
    <dgm:cxn modelId="{18454444-7786-8B4E-BD11-DF3E0323C11B}" type="presParOf" srcId="{BE89600E-7229-2241-A6CA-F9E3C89E8655}" destId="{4A0C4D72-A0E1-4B41-B9E2-8516946458AD}" srcOrd="2" destOrd="0" presId="urn:microsoft.com/office/officeart/2005/8/layout/hierarchy2"/>
    <dgm:cxn modelId="{DCD57A30-9C3A-844C-9599-4687E3EC5849}" type="presParOf" srcId="{4A0C4D72-A0E1-4B41-B9E2-8516946458AD}" destId="{973D98EC-B6C3-EE43-BF98-66E290A8CF80}" srcOrd="0" destOrd="0" presId="urn:microsoft.com/office/officeart/2005/8/layout/hierarchy2"/>
    <dgm:cxn modelId="{E3ADC31A-CE8A-844C-A3EB-54E0E755E57C}" type="presParOf" srcId="{4A0C4D72-A0E1-4B41-B9E2-8516946458AD}" destId="{1FEE0603-5ED6-9347-81FE-E56668B63256}" srcOrd="1" destOrd="0" presId="urn:microsoft.com/office/officeart/2005/8/layout/hierarchy2"/>
    <dgm:cxn modelId="{A1E662AB-FD92-AF42-BA48-58FBAEBF5F31}" type="presParOf" srcId="{1FEE0603-5ED6-9347-81FE-E56668B63256}" destId="{30CA4377-8D46-3B40-9738-1063EC96EC0D}" srcOrd="0" destOrd="0" presId="urn:microsoft.com/office/officeart/2005/8/layout/hierarchy2"/>
    <dgm:cxn modelId="{F1A67031-83A8-D54B-80BB-006F2087D172}" type="presParOf" srcId="{30CA4377-8D46-3B40-9738-1063EC96EC0D}" destId="{2F6569F0-D6B7-5D40-AAE8-85C23CA6F927}" srcOrd="0" destOrd="0" presId="urn:microsoft.com/office/officeart/2005/8/layout/hierarchy2"/>
    <dgm:cxn modelId="{09BD0498-DCB4-1747-8037-6DC45E8274B6}" type="presParOf" srcId="{1FEE0603-5ED6-9347-81FE-E56668B63256}" destId="{BAD87828-6BB2-7C47-ACF7-1D9857AE7FF8}" srcOrd="1" destOrd="0" presId="urn:microsoft.com/office/officeart/2005/8/layout/hierarchy2"/>
    <dgm:cxn modelId="{E42AA641-2907-ED42-967C-0E5523129DD5}" type="presParOf" srcId="{BAD87828-6BB2-7C47-ACF7-1D9857AE7FF8}" destId="{05929E7C-CD3F-7640-8C66-E284486EE659}" srcOrd="0" destOrd="0" presId="urn:microsoft.com/office/officeart/2005/8/layout/hierarchy2"/>
    <dgm:cxn modelId="{08BEC6B1-6809-2D4D-8C7C-D26EC67EF846}" type="presParOf" srcId="{BAD87828-6BB2-7C47-ACF7-1D9857AE7FF8}" destId="{1CC5488A-23A0-634E-A16B-69D3EF8A9375}" srcOrd="1" destOrd="0" presId="urn:microsoft.com/office/officeart/2005/8/layout/hierarchy2"/>
  </dgm:cxnLst>
  <dgm:bg/>
  <dgm:whole>
    <a:ln w="12700"/>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05F29F-D528-194F-A6B5-AAA05D8DA922}">
      <dsp:nvSpPr>
        <dsp:cNvPr id="0" name=""/>
        <dsp:cNvSpPr/>
      </dsp:nvSpPr>
      <dsp:spPr>
        <a:xfrm>
          <a:off x="-3429047" y="-3595"/>
          <a:ext cx="4088538" cy="4088538"/>
        </a:xfrm>
        <a:prstGeom prst="blockArc">
          <a:avLst>
            <a:gd name="adj1" fmla="val 18900000"/>
            <a:gd name="adj2" fmla="val 2700000"/>
            <a:gd name="adj3" fmla="val 528"/>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AD4E480-940E-C646-80AD-0BF24970BF61}">
      <dsp:nvSpPr>
        <dsp:cNvPr id="0" name=""/>
        <dsp:cNvSpPr/>
      </dsp:nvSpPr>
      <dsp:spPr>
        <a:xfrm>
          <a:off x="424073" y="827060"/>
          <a:ext cx="1964231" cy="606806"/>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481652" tIns="25400" rIns="25400" bIns="25400" numCol="1" spcCol="1270" anchor="ctr" anchorCtr="0">
          <a:noAutofit/>
        </a:bodyPr>
        <a:lstStyle/>
        <a:p>
          <a:pPr marL="0" lvl="0" indent="0" algn="l" defTabSz="444500">
            <a:lnSpc>
              <a:spcPct val="90000"/>
            </a:lnSpc>
            <a:spcBef>
              <a:spcPct val="0"/>
            </a:spcBef>
            <a:spcAft>
              <a:spcPct val="35000"/>
            </a:spcAft>
            <a:buNone/>
          </a:pPr>
          <a:r>
            <a:rPr lang="en-US" sz="1000" kern="1200">
              <a:solidFill>
                <a:schemeClr val="tx1"/>
              </a:solidFill>
            </a:rPr>
            <a:t>Dropout rate</a:t>
          </a:r>
        </a:p>
      </dsp:txBody>
      <dsp:txXfrm>
        <a:off x="424073" y="827060"/>
        <a:ext cx="1964231" cy="606806"/>
      </dsp:txXfrm>
    </dsp:sp>
    <dsp:sp modelId="{45467174-D124-8848-9733-B54F52B065A1}">
      <dsp:nvSpPr>
        <dsp:cNvPr id="0" name=""/>
        <dsp:cNvSpPr/>
      </dsp:nvSpPr>
      <dsp:spPr>
        <a:xfrm>
          <a:off x="44819" y="751209"/>
          <a:ext cx="758507" cy="758507"/>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1B9D48A0-4F43-5141-B1FD-ABAD1F337A43}">
      <dsp:nvSpPr>
        <dsp:cNvPr id="0" name=""/>
        <dsp:cNvSpPr/>
      </dsp:nvSpPr>
      <dsp:spPr>
        <a:xfrm>
          <a:off x="644647" y="1737269"/>
          <a:ext cx="1743657" cy="606806"/>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481652" tIns="25400" rIns="25400" bIns="25400" numCol="1" spcCol="1270" anchor="ctr" anchorCtr="0">
          <a:noAutofit/>
        </a:bodyPr>
        <a:lstStyle/>
        <a:p>
          <a:pPr marL="0" lvl="0" indent="0" algn="l" defTabSz="444500">
            <a:lnSpc>
              <a:spcPct val="90000"/>
            </a:lnSpc>
            <a:spcBef>
              <a:spcPct val="0"/>
            </a:spcBef>
            <a:spcAft>
              <a:spcPct val="35000"/>
            </a:spcAft>
            <a:buNone/>
          </a:pPr>
          <a:r>
            <a:rPr lang="en-US" sz="1000" kern="1200">
              <a:solidFill>
                <a:schemeClr val="tx1"/>
              </a:solidFill>
            </a:rPr>
            <a:t>Batch normalization</a:t>
          </a:r>
        </a:p>
      </dsp:txBody>
      <dsp:txXfrm>
        <a:off x="644647" y="1737269"/>
        <a:ext cx="1743657" cy="606806"/>
      </dsp:txXfrm>
    </dsp:sp>
    <dsp:sp modelId="{53E84DE1-3358-9147-B947-1BB2B3A74D13}">
      <dsp:nvSpPr>
        <dsp:cNvPr id="0" name=""/>
        <dsp:cNvSpPr/>
      </dsp:nvSpPr>
      <dsp:spPr>
        <a:xfrm>
          <a:off x="265394" y="1661419"/>
          <a:ext cx="758507" cy="758507"/>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FC4399B8-EBFA-6347-B076-013DE2500064}">
      <dsp:nvSpPr>
        <dsp:cNvPr id="0" name=""/>
        <dsp:cNvSpPr/>
      </dsp:nvSpPr>
      <dsp:spPr>
        <a:xfrm>
          <a:off x="424073" y="2647479"/>
          <a:ext cx="1964231" cy="606806"/>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481652" tIns="25400" rIns="25400" bIns="25400" numCol="1" spcCol="1270" anchor="ctr" anchorCtr="0">
          <a:noAutofit/>
        </a:bodyPr>
        <a:lstStyle/>
        <a:p>
          <a:pPr marL="0" lvl="0" indent="0" algn="l" defTabSz="444500">
            <a:lnSpc>
              <a:spcPct val="90000"/>
            </a:lnSpc>
            <a:spcBef>
              <a:spcPct val="0"/>
            </a:spcBef>
            <a:spcAft>
              <a:spcPct val="35000"/>
            </a:spcAft>
            <a:buNone/>
          </a:pPr>
          <a:r>
            <a:rPr lang="en-US" sz="1000" kern="1200">
              <a:solidFill>
                <a:schemeClr val="tx1"/>
              </a:solidFill>
            </a:rPr>
            <a:t>L2 regularization</a:t>
          </a:r>
        </a:p>
      </dsp:txBody>
      <dsp:txXfrm>
        <a:off x="424073" y="2647479"/>
        <a:ext cx="1964231" cy="606806"/>
      </dsp:txXfrm>
    </dsp:sp>
    <dsp:sp modelId="{042AA417-94A3-1D42-82E1-9BDDBFE67E38}">
      <dsp:nvSpPr>
        <dsp:cNvPr id="0" name=""/>
        <dsp:cNvSpPr/>
      </dsp:nvSpPr>
      <dsp:spPr>
        <a:xfrm>
          <a:off x="44819" y="2571628"/>
          <a:ext cx="758507" cy="758507"/>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16FDD8-872F-EA44-BC31-9A613B4F3255}">
      <dsp:nvSpPr>
        <dsp:cNvPr id="0" name=""/>
        <dsp:cNvSpPr/>
      </dsp:nvSpPr>
      <dsp:spPr>
        <a:xfrm>
          <a:off x="495136" y="852824"/>
          <a:ext cx="740406" cy="370203"/>
        </a:xfrm>
        <a:prstGeom prst="roundRect">
          <a:avLst>
            <a:gd name="adj" fmla="val 10000"/>
          </a:avLst>
        </a:prstGeom>
        <a:solidFill>
          <a:srgbClr val="D5D5D5"/>
        </a:solidFill>
        <a:ln w="127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Data Augmentation</a:t>
          </a:r>
        </a:p>
      </dsp:txBody>
      <dsp:txXfrm>
        <a:off x="505979" y="863667"/>
        <a:ext cx="718720" cy="348517"/>
      </dsp:txXfrm>
    </dsp:sp>
    <dsp:sp modelId="{6B26A4A9-C65E-B849-AA1F-82D89F129B6E}">
      <dsp:nvSpPr>
        <dsp:cNvPr id="0" name=""/>
        <dsp:cNvSpPr/>
      </dsp:nvSpPr>
      <dsp:spPr>
        <a:xfrm rot="17350740">
          <a:off x="932872" y="600811"/>
          <a:ext cx="901503" cy="22763"/>
        </a:xfrm>
        <a:custGeom>
          <a:avLst/>
          <a:gdLst/>
          <a:ahLst/>
          <a:cxnLst/>
          <a:rect l="0" t="0" r="0" b="0"/>
          <a:pathLst>
            <a:path>
              <a:moveTo>
                <a:pt x="0" y="11381"/>
              </a:moveTo>
              <a:lnTo>
                <a:pt x="901503"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61086" y="589655"/>
        <a:ext cx="45075" cy="45075"/>
      </dsp:txXfrm>
    </dsp:sp>
    <dsp:sp modelId="{A91BF052-F138-3147-A5C5-C502BE45B08F}">
      <dsp:nvSpPr>
        <dsp:cNvPr id="0" name=""/>
        <dsp:cNvSpPr/>
      </dsp:nvSpPr>
      <dsp:spPr>
        <a:xfrm>
          <a:off x="1531705" y="1357"/>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Random Horizontal Flipping</a:t>
          </a:r>
        </a:p>
      </dsp:txBody>
      <dsp:txXfrm>
        <a:off x="1542548" y="12200"/>
        <a:ext cx="1515049" cy="348517"/>
      </dsp:txXfrm>
    </dsp:sp>
    <dsp:sp modelId="{C8E6C50F-C079-7745-9765-1B439824A3F9}">
      <dsp:nvSpPr>
        <dsp:cNvPr id="0" name=""/>
        <dsp:cNvSpPr/>
      </dsp:nvSpPr>
      <dsp:spPr>
        <a:xfrm rot="18289469">
          <a:off x="1124316" y="813677"/>
          <a:ext cx="518614" cy="22763"/>
        </a:xfrm>
        <a:custGeom>
          <a:avLst/>
          <a:gdLst/>
          <a:ahLst/>
          <a:cxnLst/>
          <a:rect l="0" t="0" r="0" b="0"/>
          <a:pathLst>
            <a:path>
              <a:moveTo>
                <a:pt x="0" y="11381"/>
              </a:moveTo>
              <a:lnTo>
                <a:pt x="518614"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70658" y="812094"/>
        <a:ext cx="25930" cy="25930"/>
      </dsp:txXfrm>
    </dsp:sp>
    <dsp:sp modelId="{80BDAAB5-E8DA-A24A-B2B3-2FE7DC97A2EE}">
      <dsp:nvSpPr>
        <dsp:cNvPr id="0" name=""/>
        <dsp:cNvSpPr/>
      </dsp:nvSpPr>
      <dsp:spPr>
        <a:xfrm>
          <a:off x="1531705" y="427091"/>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Random Rotation</a:t>
          </a:r>
        </a:p>
      </dsp:txBody>
      <dsp:txXfrm>
        <a:off x="1542548" y="437934"/>
        <a:ext cx="1515049" cy="348517"/>
      </dsp:txXfrm>
    </dsp:sp>
    <dsp:sp modelId="{156175B4-C4FE-484F-B6B4-0630C84E9C24}">
      <dsp:nvSpPr>
        <dsp:cNvPr id="0" name=""/>
        <dsp:cNvSpPr/>
      </dsp:nvSpPr>
      <dsp:spPr>
        <a:xfrm>
          <a:off x="1235542" y="1026544"/>
          <a:ext cx="296162" cy="22763"/>
        </a:xfrm>
        <a:custGeom>
          <a:avLst/>
          <a:gdLst/>
          <a:ahLst/>
          <a:cxnLst/>
          <a:rect l="0" t="0" r="0" b="0"/>
          <a:pathLst>
            <a:path>
              <a:moveTo>
                <a:pt x="0" y="11381"/>
              </a:moveTo>
              <a:lnTo>
                <a:pt x="296162"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76219" y="1030522"/>
        <a:ext cx="14808" cy="14808"/>
      </dsp:txXfrm>
    </dsp:sp>
    <dsp:sp modelId="{86CFBC85-1771-7343-A37E-3353824A39E5}">
      <dsp:nvSpPr>
        <dsp:cNvPr id="0" name=""/>
        <dsp:cNvSpPr/>
      </dsp:nvSpPr>
      <dsp:spPr>
        <a:xfrm>
          <a:off x="1531705" y="852824"/>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Random Contrast</a:t>
          </a:r>
        </a:p>
      </dsp:txBody>
      <dsp:txXfrm>
        <a:off x="1542548" y="863667"/>
        <a:ext cx="1515049" cy="348517"/>
      </dsp:txXfrm>
    </dsp:sp>
    <dsp:sp modelId="{F33EFA89-C3CF-844D-B8F5-656013CE8860}">
      <dsp:nvSpPr>
        <dsp:cNvPr id="0" name=""/>
        <dsp:cNvSpPr/>
      </dsp:nvSpPr>
      <dsp:spPr>
        <a:xfrm rot="3310531">
          <a:off x="1124316" y="1239411"/>
          <a:ext cx="518614" cy="22763"/>
        </a:xfrm>
        <a:custGeom>
          <a:avLst/>
          <a:gdLst/>
          <a:ahLst/>
          <a:cxnLst/>
          <a:rect l="0" t="0" r="0" b="0"/>
          <a:pathLst>
            <a:path>
              <a:moveTo>
                <a:pt x="0" y="11381"/>
              </a:moveTo>
              <a:lnTo>
                <a:pt x="518614"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70658" y="1237827"/>
        <a:ext cx="25930" cy="25930"/>
      </dsp:txXfrm>
    </dsp:sp>
    <dsp:sp modelId="{6F3DD340-3A24-AC4E-B181-C736346881E5}">
      <dsp:nvSpPr>
        <dsp:cNvPr id="0" name=""/>
        <dsp:cNvSpPr/>
      </dsp:nvSpPr>
      <dsp:spPr>
        <a:xfrm>
          <a:off x="1531705" y="1278558"/>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Random Brightness</a:t>
          </a:r>
        </a:p>
      </dsp:txBody>
      <dsp:txXfrm>
        <a:off x="1542548" y="1289401"/>
        <a:ext cx="1515049" cy="348517"/>
      </dsp:txXfrm>
    </dsp:sp>
    <dsp:sp modelId="{87EBF2E3-4441-C44D-B465-DBEFDB3995B0}">
      <dsp:nvSpPr>
        <dsp:cNvPr id="0" name=""/>
        <dsp:cNvSpPr/>
      </dsp:nvSpPr>
      <dsp:spPr>
        <a:xfrm rot="4249260">
          <a:off x="932872" y="1452278"/>
          <a:ext cx="901503" cy="22763"/>
        </a:xfrm>
        <a:custGeom>
          <a:avLst/>
          <a:gdLst/>
          <a:ahLst/>
          <a:cxnLst/>
          <a:rect l="0" t="0" r="0" b="0"/>
          <a:pathLst>
            <a:path>
              <a:moveTo>
                <a:pt x="0" y="11381"/>
              </a:moveTo>
              <a:lnTo>
                <a:pt x="901503"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61086" y="1441122"/>
        <a:ext cx="45075" cy="45075"/>
      </dsp:txXfrm>
    </dsp:sp>
    <dsp:sp modelId="{06EF309D-A05E-8440-9447-8E0652C9938E}">
      <dsp:nvSpPr>
        <dsp:cNvPr id="0" name=""/>
        <dsp:cNvSpPr/>
      </dsp:nvSpPr>
      <dsp:spPr>
        <a:xfrm>
          <a:off x="1531705" y="1704291"/>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Random Translation</a:t>
          </a:r>
        </a:p>
      </dsp:txBody>
      <dsp:txXfrm>
        <a:off x="1542548" y="1715134"/>
        <a:ext cx="1515049" cy="348517"/>
      </dsp:txXfrm>
    </dsp:sp>
    <dsp:sp modelId="{82151661-3278-AC41-97E0-24581590B11E}">
      <dsp:nvSpPr>
        <dsp:cNvPr id="0" name=""/>
        <dsp:cNvSpPr/>
      </dsp:nvSpPr>
      <dsp:spPr>
        <a:xfrm>
          <a:off x="495136" y="2130025"/>
          <a:ext cx="740406" cy="370203"/>
        </a:xfrm>
        <a:prstGeom prst="roundRect">
          <a:avLst>
            <a:gd name="adj" fmla="val 10000"/>
          </a:avLst>
        </a:prstGeom>
        <a:solidFill>
          <a:srgbClr val="D5D5D5"/>
        </a:solidFill>
        <a:ln w="127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More Epochs</a:t>
          </a:r>
        </a:p>
      </dsp:txBody>
      <dsp:txXfrm>
        <a:off x="505979" y="2140868"/>
        <a:ext cx="718720" cy="348517"/>
      </dsp:txXfrm>
    </dsp:sp>
    <dsp:sp modelId="{C1B782B6-8491-E448-9003-0B1725918558}">
      <dsp:nvSpPr>
        <dsp:cNvPr id="0" name=""/>
        <dsp:cNvSpPr/>
      </dsp:nvSpPr>
      <dsp:spPr>
        <a:xfrm>
          <a:off x="1235542" y="2303745"/>
          <a:ext cx="296162" cy="22763"/>
        </a:xfrm>
        <a:custGeom>
          <a:avLst/>
          <a:gdLst/>
          <a:ahLst/>
          <a:cxnLst/>
          <a:rect l="0" t="0" r="0" b="0"/>
          <a:pathLst>
            <a:path>
              <a:moveTo>
                <a:pt x="0" y="11381"/>
              </a:moveTo>
              <a:lnTo>
                <a:pt x="296162"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76219" y="2307722"/>
        <a:ext cx="14808" cy="14808"/>
      </dsp:txXfrm>
    </dsp:sp>
    <dsp:sp modelId="{FA2F917F-A778-6E40-A6A2-326312421619}">
      <dsp:nvSpPr>
        <dsp:cNvPr id="0" name=""/>
        <dsp:cNvSpPr/>
      </dsp:nvSpPr>
      <dsp:spPr>
        <a:xfrm>
          <a:off x="1531705" y="2130025"/>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100 Epochs instead of only 10</a:t>
          </a:r>
        </a:p>
      </dsp:txBody>
      <dsp:txXfrm>
        <a:off x="1542548" y="2140868"/>
        <a:ext cx="1515049" cy="348517"/>
      </dsp:txXfrm>
    </dsp:sp>
    <dsp:sp modelId="{973D98EC-B6C3-EE43-BF98-66E290A8CF80}">
      <dsp:nvSpPr>
        <dsp:cNvPr id="0" name=""/>
        <dsp:cNvSpPr/>
      </dsp:nvSpPr>
      <dsp:spPr>
        <a:xfrm>
          <a:off x="495136" y="2555759"/>
          <a:ext cx="740406" cy="370203"/>
        </a:xfrm>
        <a:prstGeom prst="roundRect">
          <a:avLst>
            <a:gd name="adj" fmla="val 10000"/>
          </a:avLst>
        </a:prstGeom>
        <a:solidFill>
          <a:srgbClr val="D5D5D5"/>
        </a:solidFill>
        <a:ln w="127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Early Stopping</a:t>
          </a:r>
        </a:p>
      </dsp:txBody>
      <dsp:txXfrm>
        <a:off x="505979" y="2566602"/>
        <a:ext cx="718720" cy="348517"/>
      </dsp:txXfrm>
    </dsp:sp>
    <dsp:sp modelId="{30CA4377-8D46-3B40-9738-1063EC96EC0D}">
      <dsp:nvSpPr>
        <dsp:cNvPr id="0" name=""/>
        <dsp:cNvSpPr/>
      </dsp:nvSpPr>
      <dsp:spPr>
        <a:xfrm>
          <a:off x="1235542" y="2729478"/>
          <a:ext cx="296162" cy="22763"/>
        </a:xfrm>
        <a:custGeom>
          <a:avLst/>
          <a:gdLst/>
          <a:ahLst/>
          <a:cxnLst/>
          <a:rect l="0" t="0" r="0" b="0"/>
          <a:pathLst>
            <a:path>
              <a:moveTo>
                <a:pt x="0" y="11381"/>
              </a:moveTo>
              <a:lnTo>
                <a:pt x="296162"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76219" y="2733456"/>
        <a:ext cx="14808" cy="14808"/>
      </dsp:txXfrm>
    </dsp:sp>
    <dsp:sp modelId="{05929E7C-CD3F-7640-8C66-E284486EE659}">
      <dsp:nvSpPr>
        <dsp:cNvPr id="0" name=""/>
        <dsp:cNvSpPr/>
      </dsp:nvSpPr>
      <dsp:spPr>
        <a:xfrm>
          <a:off x="1531705" y="2555759"/>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Monitoring validation loss</a:t>
          </a:r>
        </a:p>
        <a:p>
          <a:pPr marL="0" lvl="0" indent="0" algn="ctr" defTabSz="311150">
            <a:lnSpc>
              <a:spcPct val="90000"/>
            </a:lnSpc>
            <a:spcBef>
              <a:spcPct val="0"/>
            </a:spcBef>
            <a:spcAft>
              <a:spcPct val="35000"/>
            </a:spcAft>
            <a:buNone/>
          </a:pPr>
          <a:r>
            <a:rPr lang="en-US" sz="700" kern="1200"/>
            <a:t> with patience = 3</a:t>
          </a:r>
        </a:p>
      </dsp:txBody>
      <dsp:txXfrm>
        <a:off x="1542548" y="2566602"/>
        <a:ext cx="1515049" cy="34851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05F29F-D528-194F-A6B5-AAA05D8DA922}">
      <dsp:nvSpPr>
        <dsp:cNvPr id="0" name=""/>
        <dsp:cNvSpPr/>
      </dsp:nvSpPr>
      <dsp:spPr>
        <a:xfrm>
          <a:off x="-3429047" y="-3595"/>
          <a:ext cx="4088538" cy="4088538"/>
        </a:xfrm>
        <a:prstGeom prst="blockArc">
          <a:avLst>
            <a:gd name="adj1" fmla="val 18900000"/>
            <a:gd name="adj2" fmla="val 2700000"/>
            <a:gd name="adj3" fmla="val 528"/>
          </a:avLst>
        </a:prstGeom>
        <a:solidFill>
          <a:srgbClr val="D5D5D5"/>
        </a:solidFill>
        <a:ln w="19050" cap="flat" cmpd="sng" algn="ctr">
          <a:noFill/>
          <a:prstDash val="solid"/>
        </a:ln>
        <a:effectLst/>
      </dsp:spPr>
      <dsp:style>
        <a:lnRef idx="2">
          <a:scrgbClr r="0" g="0" b="0"/>
        </a:lnRef>
        <a:fillRef idx="0">
          <a:scrgbClr r="0" g="0" b="0"/>
        </a:fillRef>
        <a:effectRef idx="0">
          <a:scrgbClr r="0" g="0" b="0"/>
        </a:effectRef>
        <a:fontRef idx="minor"/>
      </dsp:style>
    </dsp:sp>
    <dsp:sp modelId="{C53C6827-930E-1A4E-8C8A-9F7275335C27}">
      <dsp:nvSpPr>
        <dsp:cNvPr id="0" name=""/>
        <dsp:cNvSpPr/>
      </dsp:nvSpPr>
      <dsp:spPr>
        <a:xfrm>
          <a:off x="289362" y="713223"/>
          <a:ext cx="2098942" cy="379375"/>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301129" tIns="25400" rIns="25400" bIns="25400" numCol="1" spcCol="1270" anchor="ctr" anchorCtr="0">
          <a:noAutofit/>
        </a:bodyPr>
        <a:lstStyle/>
        <a:p>
          <a:pPr marL="0" lvl="0" indent="0" algn="l" defTabSz="444500">
            <a:lnSpc>
              <a:spcPct val="90000"/>
            </a:lnSpc>
            <a:spcBef>
              <a:spcPct val="0"/>
            </a:spcBef>
            <a:spcAft>
              <a:spcPct val="35000"/>
            </a:spcAft>
            <a:buNone/>
          </a:pPr>
          <a:r>
            <a:rPr lang="en-US" sz="1000" kern="1200">
              <a:solidFill>
                <a:schemeClr val="tx1"/>
              </a:solidFill>
              <a:latin typeface="Helvetica Neue"/>
            </a:rPr>
            <a:t>Learning rate</a:t>
          </a:r>
        </a:p>
      </dsp:txBody>
      <dsp:txXfrm>
        <a:off x="289362" y="713223"/>
        <a:ext cx="2098942" cy="379375"/>
      </dsp:txXfrm>
    </dsp:sp>
    <dsp:sp modelId="{1A95E120-89BB-1947-B752-24181DA708BE}">
      <dsp:nvSpPr>
        <dsp:cNvPr id="0" name=""/>
        <dsp:cNvSpPr/>
      </dsp:nvSpPr>
      <dsp:spPr>
        <a:xfrm>
          <a:off x="52253" y="665801"/>
          <a:ext cx="474219" cy="474219"/>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C94723D8-D6DB-994D-B5D1-7632110C3EDF}">
      <dsp:nvSpPr>
        <dsp:cNvPr id="0" name=""/>
        <dsp:cNvSpPr/>
      </dsp:nvSpPr>
      <dsp:spPr>
        <a:xfrm>
          <a:off x="561212" y="1282104"/>
          <a:ext cx="1827093" cy="379375"/>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301129" tIns="25400" rIns="25400" bIns="25400" numCol="1" spcCol="1270" anchor="ctr" anchorCtr="0">
          <a:noAutofit/>
        </a:bodyPr>
        <a:lstStyle/>
        <a:p>
          <a:pPr marL="0" lvl="0" indent="0" algn="l" defTabSz="444500" rtl="0">
            <a:lnSpc>
              <a:spcPct val="90000"/>
            </a:lnSpc>
            <a:spcBef>
              <a:spcPct val="0"/>
            </a:spcBef>
            <a:spcAft>
              <a:spcPct val="35000"/>
            </a:spcAft>
            <a:buNone/>
          </a:pPr>
          <a:r>
            <a:rPr lang="en-US" sz="1000" kern="1200">
              <a:solidFill>
                <a:schemeClr val="tx1"/>
              </a:solidFill>
              <a:latin typeface="Helvetica Neue"/>
            </a:rPr>
            <a:t># Neurons in dense layer</a:t>
          </a:r>
        </a:p>
      </dsp:txBody>
      <dsp:txXfrm>
        <a:off x="561212" y="1282104"/>
        <a:ext cx="1827093" cy="379375"/>
      </dsp:txXfrm>
    </dsp:sp>
    <dsp:sp modelId="{45467174-D124-8848-9733-B54F52B065A1}">
      <dsp:nvSpPr>
        <dsp:cNvPr id="0" name=""/>
        <dsp:cNvSpPr/>
      </dsp:nvSpPr>
      <dsp:spPr>
        <a:xfrm>
          <a:off x="324102" y="1234682"/>
          <a:ext cx="474219" cy="474219"/>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E3A672AF-2563-904D-A2E4-595187B435B5}">
      <dsp:nvSpPr>
        <dsp:cNvPr id="0" name=""/>
        <dsp:cNvSpPr/>
      </dsp:nvSpPr>
      <dsp:spPr>
        <a:xfrm>
          <a:off x="644647" y="1850985"/>
          <a:ext cx="1743657" cy="379375"/>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301129" tIns="25400" rIns="25400" bIns="25400" numCol="1" spcCol="1270" anchor="ctr" anchorCtr="0">
          <a:noAutofit/>
        </a:bodyPr>
        <a:lstStyle/>
        <a:p>
          <a:pPr marL="0" lvl="0" indent="0" algn="l" defTabSz="444500" rtl="0">
            <a:lnSpc>
              <a:spcPct val="90000"/>
            </a:lnSpc>
            <a:spcBef>
              <a:spcPct val="0"/>
            </a:spcBef>
            <a:spcAft>
              <a:spcPct val="35000"/>
            </a:spcAft>
            <a:buNone/>
          </a:pPr>
          <a:r>
            <a:rPr lang="en-US" sz="1000" kern="1200">
              <a:solidFill>
                <a:schemeClr val="tx1"/>
              </a:solidFill>
              <a:latin typeface="Helvetica Neue"/>
            </a:rPr>
            <a:t>Dropout Rate</a:t>
          </a:r>
        </a:p>
      </dsp:txBody>
      <dsp:txXfrm>
        <a:off x="644647" y="1850985"/>
        <a:ext cx="1743657" cy="379375"/>
      </dsp:txXfrm>
    </dsp:sp>
    <dsp:sp modelId="{53E84DE1-3358-9147-B947-1BB2B3A74D13}">
      <dsp:nvSpPr>
        <dsp:cNvPr id="0" name=""/>
        <dsp:cNvSpPr/>
      </dsp:nvSpPr>
      <dsp:spPr>
        <a:xfrm>
          <a:off x="407538" y="1803563"/>
          <a:ext cx="474219" cy="474219"/>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A9CA9E59-AB4B-7C49-B8F6-0915801FB277}">
      <dsp:nvSpPr>
        <dsp:cNvPr id="0" name=""/>
        <dsp:cNvSpPr/>
      </dsp:nvSpPr>
      <dsp:spPr>
        <a:xfrm>
          <a:off x="561212" y="2419866"/>
          <a:ext cx="1827093" cy="379375"/>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301129" tIns="25400" rIns="25400" bIns="25400" numCol="1" spcCol="1270" anchor="ctr" anchorCtr="0">
          <a:noAutofit/>
        </a:bodyPr>
        <a:lstStyle/>
        <a:p>
          <a:pPr marL="0" lvl="0" indent="0" algn="l" defTabSz="444500" rtl="0">
            <a:lnSpc>
              <a:spcPct val="90000"/>
            </a:lnSpc>
            <a:spcBef>
              <a:spcPct val="0"/>
            </a:spcBef>
            <a:spcAft>
              <a:spcPct val="35000"/>
            </a:spcAft>
            <a:buNone/>
          </a:pPr>
          <a:r>
            <a:rPr lang="en-US" sz="1000" kern="1200">
              <a:solidFill>
                <a:schemeClr val="tx1"/>
              </a:solidFill>
              <a:latin typeface="Helvetica Neue"/>
            </a:rPr>
            <a:t>Batch Normalization</a:t>
          </a:r>
        </a:p>
      </dsp:txBody>
      <dsp:txXfrm>
        <a:off x="561212" y="2419866"/>
        <a:ext cx="1827093" cy="379375"/>
      </dsp:txXfrm>
    </dsp:sp>
    <dsp:sp modelId="{042AA417-94A3-1D42-82E1-9BDDBFE67E38}">
      <dsp:nvSpPr>
        <dsp:cNvPr id="0" name=""/>
        <dsp:cNvSpPr/>
      </dsp:nvSpPr>
      <dsp:spPr>
        <a:xfrm>
          <a:off x="324102" y="2372444"/>
          <a:ext cx="474219" cy="474219"/>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FC5B182C-8CDE-0947-A257-54E72C0203C0}">
      <dsp:nvSpPr>
        <dsp:cNvPr id="0" name=""/>
        <dsp:cNvSpPr/>
      </dsp:nvSpPr>
      <dsp:spPr>
        <a:xfrm>
          <a:off x="289362" y="2988747"/>
          <a:ext cx="2098942" cy="379375"/>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301129" tIns="25400" rIns="25400" bIns="25400" numCol="1" spcCol="1270" anchor="ctr" anchorCtr="0">
          <a:noAutofit/>
        </a:bodyPr>
        <a:lstStyle/>
        <a:p>
          <a:pPr marL="0" lvl="0" indent="0" algn="l" defTabSz="444500">
            <a:lnSpc>
              <a:spcPct val="90000"/>
            </a:lnSpc>
            <a:spcBef>
              <a:spcPct val="0"/>
            </a:spcBef>
            <a:spcAft>
              <a:spcPct val="35000"/>
            </a:spcAft>
            <a:buNone/>
          </a:pPr>
          <a:r>
            <a:rPr lang="en-US" sz="1000" kern="1200">
              <a:solidFill>
                <a:schemeClr val="tx1"/>
              </a:solidFill>
              <a:latin typeface="Helvetica Neue"/>
            </a:rPr>
            <a:t>L2 regularization</a:t>
          </a:r>
        </a:p>
      </dsp:txBody>
      <dsp:txXfrm>
        <a:off x="289362" y="2988747"/>
        <a:ext cx="2098942" cy="379375"/>
      </dsp:txXfrm>
    </dsp:sp>
    <dsp:sp modelId="{0C1DB10A-E691-F746-BD0C-B70BC01D07D3}">
      <dsp:nvSpPr>
        <dsp:cNvPr id="0" name=""/>
        <dsp:cNvSpPr/>
      </dsp:nvSpPr>
      <dsp:spPr>
        <a:xfrm>
          <a:off x="52253" y="2941325"/>
          <a:ext cx="474219" cy="474219"/>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16FDD8-872F-EA44-BC31-9A613B4F3255}">
      <dsp:nvSpPr>
        <dsp:cNvPr id="0" name=""/>
        <dsp:cNvSpPr/>
      </dsp:nvSpPr>
      <dsp:spPr>
        <a:xfrm>
          <a:off x="495136" y="852824"/>
          <a:ext cx="740406" cy="370203"/>
        </a:xfrm>
        <a:prstGeom prst="roundRect">
          <a:avLst>
            <a:gd name="adj" fmla="val 10000"/>
          </a:avLst>
        </a:prstGeom>
        <a:solidFill>
          <a:srgbClr val="D5D5D5"/>
        </a:solidFill>
        <a:ln w="127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Data Augmentation</a:t>
          </a:r>
        </a:p>
      </dsp:txBody>
      <dsp:txXfrm>
        <a:off x="505979" y="863667"/>
        <a:ext cx="718720" cy="348517"/>
      </dsp:txXfrm>
    </dsp:sp>
    <dsp:sp modelId="{6B26A4A9-C65E-B849-AA1F-82D89F129B6E}">
      <dsp:nvSpPr>
        <dsp:cNvPr id="0" name=""/>
        <dsp:cNvSpPr/>
      </dsp:nvSpPr>
      <dsp:spPr>
        <a:xfrm rot="17350740">
          <a:off x="932872" y="600811"/>
          <a:ext cx="901503" cy="22763"/>
        </a:xfrm>
        <a:custGeom>
          <a:avLst/>
          <a:gdLst/>
          <a:ahLst/>
          <a:cxnLst/>
          <a:rect l="0" t="0" r="0" b="0"/>
          <a:pathLst>
            <a:path>
              <a:moveTo>
                <a:pt x="0" y="11381"/>
              </a:moveTo>
              <a:lnTo>
                <a:pt x="901503"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61086" y="589655"/>
        <a:ext cx="45075" cy="45075"/>
      </dsp:txXfrm>
    </dsp:sp>
    <dsp:sp modelId="{A91BF052-F138-3147-A5C5-C502BE45B08F}">
      <dsp:nvSpPr>
        <dsp:cNvPr id="0" name=""/>
        <dsp:cNvSpPr/>
      </dsp:nvSpPr>
      <dsp:spPr>
        <a:xfrm>
          <a:off x="1531705" y="1357"/>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Random Horizontal Flipping</a:t>
          </a:r>
        </a:p>
      </dsp:txBody>
      <dsp:txXfrm>
        <a:off x="1542548" y="12200"/>
        <a:ext cx="1515049" cy="348517"/>
      </dsp:txXfrm>
    </dsp:sp>
    <dsp:sp modelId="{C8E6C50F-C079-7745-9765-1B439824A3F9}">
      <dsp:nvSpPr>
        <dsp:cNvPr id="0" name=""/>
        <dsp:cNvSpPr/>
      </dsp:nvSpPr>
      <dsp:spPr>
        <a:xfrm rot="18289469">
          <a:off x="1124316" y="813677"/>
          <a:ext cx="518614" cy="22763"/>
        </a:xfrm>
        <a:custGeom>
          <a:avLst/>
          <a:gdLst/>
          <a:ahLst/>
          <a:cxnLst/>
          <a:rect l="0" t="0" r="0" b="0"/>
          <a:pathLst>
            <a:path>
              <a:moveTo>
                <a:pt x="0" y="11381"/>
              </a:moveTo>
              <a:lnTo>
                <a:pt x="518614"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70658" y="812094"/>
        <a:ext cx="25930" cy="25930"/>
      </dsp:txXfrm>
    </dsp:sp>
    <dsp:sp modelId="{80BDAAB5-E8DA-A24A-B2B3-2FE7DC97A2EE}">
      <dsp:nvSpPr>
        <dsp:cNvPr id="0" name=""/>
        <dsp:cNvSpPr/>
      </dsp:nvSpPr>
      <dsp:spPr>
        <a:xfrm>
          <a:off x="1531705" y="427091"/>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Random Rotation</a:t>
          </a:r>
        </a:p>
      </dsp:txBody>
      <dsp:txXfrm>
        <a:off x="1542548" y="437934"/>
        <a:ext cx="1515049" cy="348517"/>
      </dsp:txXfrm>
    </dsp:sp>
    <dsp:sp modelId="{156175B4-C4FE-484F-B6B4-0630C84E9C24}">
      <dsp:nvSpPr>
        <dsp:cNvPr id="0" name=""/>
        <dsp:cNvSpPr/>
      </dsp:nvSpPr>
      <dsp:spPr>
        <a:xfrm>
          <a:off x="1235542" y="1026544"/>
          <a:ext cx="296162" cy="22763"/>
        </a:xfrm>
        <a:custGeom>
          <a:avLst/>
          <a:gdLst/>
          <a:ahLst/>
          <a:cxnLst/>
          <a:rect l="0" t="0" r="0" b="0"/>
          <a:pathLst>
            <a:path>
              <a:moveTo>
                <a:pt x="0" y="11381"/>
              </a:moveTo>
              <a:lnTo>
                <a:pt x="296162"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76219" y="1030522"/>
        <a:ext cx="14808" cy="14808"/>
      </dsp:txXfrm>
    </dsp:sp>
    <dsp:sp modelId="{86CFBC85-1771-7343-A37E-3353824A39E5}">
      <dsp:nvSpPr>
        <dsp:cNvPr id="0" name=""/>
        <dsp:cNvSpPr/>
      </dsp:nvSpPr>
      <dsp:spPr>
        <a:xfrm>
          <a:off x="1531705" y="852824"/>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Random Contrast</a:t>
          </a:r>
        </a:p>
      </dsp:txBody>
      <dsp:txXfrm>
        <a:off x="1542548" y="863667"/>
        <a:ext cx="1515049" cy="348517"/>
      </dsp:txXfrm>
    </dsp:sp>
    <dsp:sp modelId="{F33EFA89-C3CF-844D-B8F5-656013CE8860}">
      <dsp:nvSpPr>
        <dsp:cNvPr id="0" name=""/>
        <dsp:cNvSpPr/>
      </dsp:nvSpPr>
      <dsp:spPr>
        <a:xfrm rot="3310531">
          <a:off x="1124316" y="1239411"/>
          <a:ext cx="518614" cy="22763"/>
        </a:xfrm>
        <a:custGeom>
          <a:avLst/>
          <a:gdLst/>
          <a:ahLst/>
          <a:cxnLst/>
          <a:rect l="0" t="0" r="0" b="0"/>
          <a:pathLst>
            <a:path>
              <a:moveTo>
                <a:pt x="0" y="11381"/>
              </a:moveTo>
              <a:lnTo>
                <a:pt x="518614"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70658" y="1237827"/>
        <a:ext cx="25930" cy="25930"/>
      </dsp:txXfrm>
    </dsp:sp>
    <dsp:sp modelId="{6F3DD340-3A24-AC4E-B181-C736346881E5}">
      <dsp:nvSpPr>
        <dsp:cNvPr id="0" name=""/>
        <dsp:cNvSpPr/>
      </dsp:nvSpPr>
      <dsp:spPr>
        <a:xfrm>
          <a:off x="1531705" y="1278558"/>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Random Brightness</a:t>
          </a:r>
        </a:p>
      </dsp:txBody>
      <dsp:txXfrm>
        <a:off x="1542548" y="1289401"/>
        <a:ext cx="1515049" cy="348517"/>
      </dsp:txXfrm>
    </dsp:sp>
    <dsp:sp modelId="{87EBF2E3-4441-C44D-B465-DBEFDB3995B0}">
      <dsp:nvSpPr>
        <dsp:cNvPr id="0" name=""/>
        <dsp:cNvSpPr/>
      </dsp:nvSpPr>
      <dsp:spPr>
        <a:xfrm rot="4249260">
          <a:off x="932872" y="1452278"/>
          <a:ext cx="901503" cy="22763"/>
        </a:xfrm>
        <a:custGeom>
          <a:avLst/>
          <a:gdLst/>
          <a:ahLst/>
          <a:cxnLst/>
          <a:rect l="0" t="0" r="0" b="0"/>
          <a:pathLst>
            <a:path>
              <a:moveTo>
                <a:pt x="0" y="11381"/>
              </a:moveTo>
              <a:lnTo>
                <a:pt x="901503"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61086" y="1441122"/>
        <a:ext cx="45075" cy="45075"/>
      </dsp:txXfrm>
    </dsp:sp>
    <dsp:sp modelId="{06EF309D-A05E-8440-9447-8E0652C9938E}">
      <dsp:nvSpPr>
        <dsp:cNvPr id="0" name=""/>
        <dsp:cNvSpPr/>
      </dsp:nvSpPr>
      <dsp:spPr>
        <a:xfrm>
          <a:off x="1531705" y="1704291"/>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Random Translation</a:t>
          </a:r>
        </a:p>
      </dsp:txBody>
      <dsp:txXfrm>
        <a:off x="1542548" y="1715134"/>
        <a:ext cx="1515049" cy="348517"/>
      </dsp:txXfrm>
    </dsp:sp>
    <dsp:sp modelId="{82151661-3278-AC41-97E0-24581590B11E}">
      <dsp:nvSpPr>
        <dsp:cNvPr id="0" name=""/>
        <dsp:cNvSpPr/>
      </dsp:nvSpPr>
      <dsp:spPr>
        <a:xfrm>
          <a:off x="495136" y="2130025"/>
          <a:ext cx="740406" cy="370203"/>
        </a:xfrm>
        <a:prstGeom prst="roundRect">
          <a:avLst>
            <a:gd name="adj" fmla="val 10000"/>
          </a:avLst>
        </a:prstGeom>
        <a:solidFill>
          <a:srgbClr val="D5D5D5"/>
        </a:solidFill>
        <a:ln w="127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More Epochs</a:t>
          </a:r>
        </a:p>
      </dsp:txBody>
      <dsp:txXfrm>
        <a:off x="505979" y="2140868"/>
        <a:ext cx="718720" cy="348517"/>
      </dsp:txXfrm>
    </dsp:sp>
    <dsp:sp modelId="{C1B782B6-8491-E448-9003-0B1725918558}">
      <dsp:nvSpPr>
        <dsp:cNvPr id="0" name=""/>
        <dsp:cNvSpPr/>
      </dsp:nvSpPr>
      <dsp:spPr>
        <a:xfrm>
          <a:off x="1235542" y="2303745"/>
          <a:ext cx="296162" cy="22763"/>
        </a:xfrm>
        <a:custGeom>
          <a:avLst/>
          <a:gdLst/>
          <a:ahLst/>
          <a:cxnLst/>
          <a:rect l="0" t="0" r="0" b="0"/>
          <a:pathLst>
            <a:path>
              <a:moveTo>
                <a:pt x="0" y="11381"/>
              </a:moveTo>
              <a:lnTo>
                <a:pt x="296162"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76219" y="2307722"/>
        <a:ext cx="14808" cy="14808"/>
      </dsp:txXfrm>
    </dsp:sp>
    <dsp:sp modelId="{FA2F917F-A778-6E40-A6A2-326312421619}">
      <dsp:nvSpPr>
        <dsp:cNvPr id="0" name=""/>
        <dsp:cNvSpPr/>
      </dsp:nvSpPr>
      <dsp:spPr>
        <a:xfrm>
          <a:off x="1531705" y="2130025"/>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100 Epochs instead of only 10</a:t>
          </a:r>
        </a:p>
      </dsp:txBody>
      <dsp:txXfrm>
        <a:off x="1542548" y="2140868"/>
        <a:ext cx="1515049" cy="348517"/>
      </dsp:txXfrm>
    </dsp:sp>
    <dsp:sp modelId="{973D98EC-B6C3-EE43-BF98-66E290A8CF80}">
      <dsp:nvSpPr>
        <dsp:cNvPr id="0" name=""/>
        <dsp:cNvSpPr/>
      </dsp:nvSpPr>
      <dsp:spPr>
        <a:xfrm>
          <a:off x="495136" y="2555759"/>
          <a:ext cx="740406" cy="370203"/>
        </a:xfrm>
        <a:prstGeom prst="roundRect">
          <a:avLst>
            <a:gd name="adj" fmla="val 10000"/>
          </a:avLst>
        </a:prstGeom>
        <a:solidFill>
          <a:srgbClr val="D5D5D5"/>
        </a:solidFill>
        <a:ln w="127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Early Stopping</a:t>
          </a:r>
        </a:p>
      </dsp:txBody>
      <dsp:txXfrm>
        <a:off x="505979" y="2566602"/>
        <a:ext cx="718720" cy="348517"/>
      </dsp:txXfrm>
    </dsp:sp>
    <dsp:sp modelId="{30CA4377-8D46-3B40-9738-1063EC96EC0D}">
      <dsp:nvSpPr>
        <dsp:cNvPr id="0" name=""/>
        <dsp:cNvSpPr/>
      </dsp:nvSpPr>
      <dsp:spPr>
        <a:xfrm>
          <a:off x="1235542" y="2729478"/>
          <a:ext cx="296162" cy="22763"/>
        </a:xfrm>
        <a:custGeom>
          <a:avLst/>
          <a:gdLst/>
          <a:ahLst/>
          <a:cxnLst/>
          <a:rect l="0" t="0" r="0" b="0"/>
          <a:pathLst>
            <a:path>
              <a:moveTo>
                <a:pt x="0" y="11381"/>
              </a:moveTo>
              <a:lnTo>
                <a:pt x="296162"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76219" y="2733456"/>
        <a:ext cx="14808" cy="14808"/>
      </dsp:txXfrm>
    </dsp:sp>
    <dsp:sp modelId="{05929E7C-CD3F-7640-8C66-E284486EE659}">
      <dsp:nvSpPr>
        <dsp:cNvPr id="0" name=""/>
        <dsp:cNvSpPr/>
      </dsp:nvSpPr>
      <dsp:spPr>
        <a:xfrm>
          <a:off x="1531705" y="2555759"/>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Monitoring validation loss</a:t>
          </a:r>
        </a:p>
        <a:p>
          <a:pPr marL="0" lvl="0" indent="0" algn="ctr" defTabSz="311150">
            <a:lnSpc>
              <a:spcPct val="90000"/>
            </a:lnSpc>
            <a:spcBef>
              <a:spcPct val="0"/>
            </a:spcBef>
            <a:spcAft>
              <a:spcPct val="35000"/>
            </a:spcAft>
            <a:buNone/>
          </a:pPr>
          <a:r>
            <a:rPr lang="en-US" sz="700" kern="1200"/>
            <a:t> with patience = 3</a:t>
          </a:r>
        </a:p>
      </dsp:txBody>
      <dsp:txXfrm>
        <a:off x="1542548" y="2566602"/>
        <a:ext cx="1515049" cy="34851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05F29F-D528-194F-A6B5-AAA05D8DA922}">
      <dsp:nvSpPr>
        <dsp:cNvPr id="0" name=""/>
        <dsp:cNvSpPr/>
      </dsp:nvSpPr>
      <dsp:spPr>
        <a:xfrm>
          <a:off x="-3429047" y="-3595"/>
          <a:ext cx="4088538" cy="4088538"/>
        </a:xfrm>
        <a:prstGeom prst="blockArc">
          <a:avLst>
            <a:gd name="adj1" fmla="val 18900000"/>
            <a:gd name="adj2" fmla="val 2700000"/>
            <a:gd name="adj3" fmla="val 528"/>
          </a:avLst>
        </a:prstGeom>
        <a:solidFill>
          <a:srgbClr val="D5D5D5"/>
        </a:solidFill>
        <a:ln w="19050" cap="flat" cmpd="sng" algn="ctr">
          <a:noFill/>
          <a:prstDash val="solid"/>
        </a:ln>
        <a:effectLst/>
      </dsp:spPr>
      <dsp:style>
        <a:lnRef idx="2">
          <a:scrgbClr r="0" g="0" b="0"/>
        </a:lnRef>
        <a:fillRef idx="0">
          <a:scrgbClr r="0" g="0" b="0"/>
        </a:fillRef>
        <a:effectRef idx="0">
          <a:scrgbClr r="0" g="0" b="0"/>
        </a:effectRef>
        <a:fontRef idx="minor"/>
      </dsp:style>
    </dsp:sp>
    <dsp:sp modelId="{C53C6827-930E-1A4E-8C8A-9F7275335C27}">
      <dsp:nvSpPr>
        <dsp:cNvPr id="0" name=""/>
        <dsp:cNvSpPr/>
      </dsp:nvSpPr>
      <dsp:spPr>
        <a:xfrm>
          <a:off x="214422" y="661584"/>
          <a:ext cx="2173883" cy="275732"/>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18863" tIns="25400" rIns="25400" bIns="25400" numCol="1" spcCol="1270" anchor="ctr" anchorCtr="0">
          <a:noAutofit/>
        </a:bodyPr>
        <a:lstStyle/>
        <a:p>
          <a:pPr marL="0" lvl="0" indent="0" algn="l" defTabSz="444500">
            <a:lnSpc>
              <a:spcPct val="90000"/>
            </a:lnSpc>
            <a:spcBef>
              <a:spcPct val="0"/>
            </a:spcBef>
            <a:spcAft>
              <a:spcPct val="35000"/>
            </a:spcAft>
            <a:buNone/>
          </a:pPr>
          <a:r>
            <a:rPr lang="en-US" sz="1000" kern="1200">
              <a:solidFill>
                <a:schemeClr val="tx1"/>
              </a:solidFill>
              <a:latin typeface="Helvetica Neue"/>
            </a:rPr>
            <a:t>Learning rate</a:t>
          </a:r>
        </a:p>
      </dsp:txBody>
      <dsp:txXfrm>
        <a:off x="214422" y="661584"/>
        <a:ext cx="2173883" cy="275732"/>
      </dsp:txXfrm>
    </dsp:sp>
    <dsp:sp modelId="{1A95E120-89BB-1947-B752-24181DA708BE}">
      <dsp:nvSpPr>
        <dsp:cNvPr id="0" name=""/>
        <dsp:cNvSpPr/>
      </dsp:nvSpPr>
      <dsp:spPr>
        <a:xfrm>
          <a:off x="42089" y="627117"/>
          <a:ext cx="344665" cy="344665"/>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A4ED58E0-A177-9048-A733-42E78819C5B8}">
      <dsp:nvSpPr>
        <dsp:cNvPr id="0" name=""/>
        <dsp:cNvSpPr/>
      </dsp:nvSpPr>
      <dsp:spPr>
        <a:xfrm>
          <a:off x="464123" y="1075426"/>
          <a:ext cx="1924182" cy="275732"/>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18863" tIns="25400" rIns="25400" bIns="25400" numCol="1" spcCol="1270" anchor="ctr" anchorCtr="0">
          <a:noAutofit/>
        </a:bodyPr>
        <a:lstStyle/>
        <a:p>
          <a:pPr marL="0" lvl="0" indent="0" algn="l" defTabSz="444500" rtl="0">
            <a:lnSpc>
              <a:spcPct val="90000"/>
            </a:lnSpc>
            <a:spcBef>
              <a:spcPct val="0"/>
            </a:spcBef>
            <a:spcAft>
              <a:spcPct val="35000"/>
            </a:spcAft>
            <a:buNone/>
          </a:pPr>
          <a:r>
            <a:rPr lang="en-US" sz="1000" kern="1200">
              <a:solidFill>
                <a:schemeClr val="tx1"/>
              </a:solidFill>
              <a:latin typeface="Helvetica Neue"/>
            </a:rPr>
            <a:t># of Attention Heads</a:t>
          </a:r>
        </a:p>
      </dsp:txBody>
      <dsp:txXfrm>
        <a:off x="464123" y="1075426"/>
        <a:ext cx="1924182" cy="275732"/>
      </dsp:txXfrm>
    </dsp:sp>
    <dsp:sp modelId="{8BD879D5-6C99-2D4B-AFE5-D8BB0ECE54A4}">
      <dsp:nvSpPr>
        <dsp:cNvPr id="0" name=""/>
        <dsp:cNvSpPr/>
      </dsp:nvSpPr>
      <dsp:spPr>
        <a:xfrm>
          <a:off x="291790" y="1040959"/>
          <a:ext cx="344665" cy="344665"/>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3BCB405A-2BCE-D942-B399-7BC3AF954513}">
      <dsp:nvSpPr>
        <dsp:cNvPr id="0" name=""/>
        <dsp:cNvSpPr/>
      </dsp:nvSpPr>
      <dsp:spPr>
        <a:xfrm>
          <a:off x="600957" y="1488964"/>
          <a:ext cx="1787347" cy="275732"/>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18863" tIns="25400" rIns="25400" bIns="25400" numCol="1" spcCol="1270" anchor="ctr" anchorCtr="0">
          <a:noAutofit/>
        </a:bodyPr>
        <a:lstStyle/>
        <a:p>
          <a:pPr marL="0" lvl="0" indent="0" algn="l" defTabSz="444500" rtl="0">
            <a:lnSpc>
              <a:spcPct val="90000"/>
            </a:lnSpc>
            <a:spcBef>
              <a:spcPct val="0"/>
            </a:spcBef>
            <a:spcAft>
              <a:spcPct val="35000"/>
            </a:spcAft>
            <a:buNone/>
          </a:pPr>
          <a:r>
            <a:rPr lang="en-US" sz="1000" kern="1200">
              <a:solidFill>
                <a:schemeClr val="tx1"/>
              </a:solidFill>
              <a:latin typeface="Helvetica Neue"/>
            </a:rPr>
            <a:t>Hidden Layer Size</a:t>
          </a:r>
        </a:p>
      </dsp:txBody>
      <dsp:txXfrm>
        <a:off x="600957" y="1488964"/>
        <a:ext cx="1787347" cy="275732"/>
      </dsp:txXfrm>
    </dsp:sp>
    <dsp:sp modelId="{45467174-D124-8848-9733-B54F52B065A1}">
      <dsp:nvSpPr>
        <dsp:cNvPr id="0" name=""/>
        <dsp:cNvSpPr/>
      </dsp:nvSpPr>
      <dsp:spPr>
        <a:xfrm>
          <a:off x="428624" y="1454498"/>
          <a:ext cx="344665" cy="344665"/>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5001DF0-276B-3248-A1C5-96D319467916}">
      <dsp:nvSpPr>
        <dsp:cNvPr id="0" name=""/>
        <dsp:cNvSpPr/>
      </dsp:nvSpPr>
      <dsp:spPr>
        <a:xfrm>
          <a:off x="644647" y="1902806"/>
          <a:ext cx="1743657" cy="275732"/>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18863" tIns="25400" rIns="25400" bIns="25400" numCol="1" spcCol="1270" anchor="ctr" anchorCtr="0">
          <a:noAutofit/>
        </a:bodyPr>
        <a:lstStyle/>
        <a:p>
          <a:pPr marL="0" lvl="0" indent="0" algn="l" defTabSz="444500" rtl="0">
            <a:lnSpc>
              <a:spcPct val="90000"/>
            </a:lnSpc>
            <a:spcBef>
              <a:spcPct val="0"/>
            </a:spcBef>
            <a:spcAft>
              <a:spcPct val="35000"/>
            </a:spcAft>
            <a:buNone/>
          </a:pPr>
          <a:r>
            <a:rPr lang="en-US" sz="1000" kern="1200">
              <a:solidFill>
                <a:schemeClr val="tx1"/>
              </a:solidFill>
              <a:latin typeface="Helvetica Neue"/>
            </a:rPr>
            <a:t>Drop Out Rate</a:t>
          </a:r>
        </a:p>
      </dsp:txBody>
      <dsp:txXfrm>
        <a:off x="644647" y="1902806"/>
        <a:ext cx="1743657" cy="275732"/>
      </dsp:txXfrm>
    </dsp:sp>
    <dsp:sp modelId="{53E84DE1-3358-9147-B947-1BB2B3A74D13}">
      <dsp:nvSpPr>
        <dsp:cNvPr id="0" name=""/>
        <dsp:cNvSpPr/>
      </dsp:nvSpPr>
      <dsp:spPr>
        <a:xfrm>
          <a:off x="472314" y="1868340"/>
          <a:ext cx="344665" cy="344665"/>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3F8D2C8-077A-0F44-8C45-6E16F9D2977A}">
      <dsp:nvSpPr>
        <dsp:cNvPr id="0" name=""/>
        <dsp:cNvSpPr/>
      </dsp:nvSpPr>
      <dsp:spPr>
        <a:xfrm>
          <a:off x="600957" y="2316648"/>
          <a:ext cx="1787347" cy="275732"/>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18863" tIns="25400" rIns="25400" bIns="25400" numCol="1" spcCol="1270" anchor="ctr" anchorCtr="0">
          <a:noAutofit/>
        </a:bodyPr>
        <a:lstStyle/>
        <a:p>
          <a:pPr marL="0" lvl="0" indent="0" algn="l" defTabSz="444500" rtl="0">
            <a:lnSpc>
              <a:spcPct val="90000"/>
            </a:lnSpc>
            <a:spcBef>
              <a:spcPct val="0"/>
            </a:spcBef>
            <a:spcAft>
              <a:spcPct val="35000"/>
            </a:spcAft>
            <a:buNone/>
          </a:pPr>
          <a:r>
            <a:rPr lang="en-US" sz="1000" kern="1200">
              <a:solidFill>
                <a:schemeClr val="tx1"/>
              </a:solidFill>
              <a:latin typeface="Helvetica Neue"/>
            </a:rPr>
            <a:t>Batch Normalization</a:t>
          </a:r>
        </a:p>
      </dsp:txBody>
      <dsp:txXfrm>
        <a:off x="600957" y="2316648"/>
        <a:ext cx="1787347" cy="275732"/>
      </dsp:txXfrm>
    </dsp:sp>
    <dsp:sp modelId="{042AA417-94A3-1D42-82E1-9BDDBFE67E38}">
      <dsp:nvSpPr>
        <dsp:cNvPr id="0" name=""/>
        <dsp:cNvSpPr/>
      </dsp:nvSpPr>
      <dsp:spPr>
        <a:xfrm>
          <a:off x="428624" y="2282181"/>
          <a:ext cx="344665" cy="344665"/>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DBD36D8-829A-4B44-A43B-2FF0B5D40880}">
      <dsp:nvSpPr>
        <dsp:cNvPr id="0" name=""/>
        <dsp:cNvSpPr/>
      </dsp:nvSpPr>
      <dsp:spPr>
        <a:xfrm>
          <a:off x="464123" y="2730186"/>
          <a:ext cx="1924182" cy="275732"/>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18863" tIns="25400" rIns="25400" bIns="25400" numCol="1" spcCol="1270" anchor="ctr" anchorCtr="0">
          <a:noAutofit/>
        </a:bodyPr>
        <a:lstStyle/>
        <a:p>
          <a:pPr marL="0" lvl="0" indent="0" algn="l" defTabSz="444500">
            <a:lnSpc>
              <a:spcPct val="90000"/>
            </a:lnSpc>
            <a:spcBef>
              <a:spcPct val="0"/>
            </a:spcBef>
            <a:spcAft>
              <a:spcPct val="35000"/>
            </a:spcAft>
            <a:buNone/>
          </a:pPr>
          <a:r>
            <a:rPr lang="en-US" sz="1000" kern="1200">
              <a:solidFill>
                <a:schemeClr val="tx1"/>
              </a:solidFill>
              <a:latin typeface="Helvetica Neue"/>
            </a:rPr>
            <a:t>Feedforward</a:t>
          </a:r>
        </a:p>
      </dsp:txBody>
      <dsp:txXfrm>
        <a:off x="464123" y="2730186"/>
        <a:ext cx="1924182" cy="275732"/>
      </dsp:txXfrm>
    </dsp:sp>
    <dsp:sp modelId="{0C1DB10A-E691-F746-BD0C-B70BC01D07D3}">
      <dsp:nvSpPr>
        <dsp:cNvPr id="0" name=""/>
        <dsp:cNvSpPr/>
      </dsp:nvSpPr>
      <dsp:spPr>
        <a:xfrm>
          <a:off x="291790" y="2695720"/>
          <a:ext cx="344665" cy="344665"/>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D90FB75F-6B62-4AE5-BA54-2ED0B89DC438}">
      <dsp:nvSpPr>
        <dsp:cNvPr id="0" name=""/>
        <dsp:cNvSpPr/>
      </dsp:nvSpPr>
      <dsp:spPr>
        <a:xfrm>
          <a:off x="214422" y="3144028"/>
          <a:ext cx="2173883" cy="275732"/>
        </a:xfrm>
        <a:prstGeom prst="rect">
          <a:avLst/>
        </a:prstGeom>
        <a:solidFill>
          <a:schemeClr val="lt1">
            <a:hueOff val="0"/>
            <a:satOff val="0"/>
            <a:lumOff val="0"/>
            <a:alphaOff val="0"/>
          </a:schemeClr>
        </a:solidFill>
        <a:ln w="6350" cap="flat" cmpd="sng" algn="ctr">
          <a:solidFill>
            <a:scrgbClr r="0" g="0" b="0"/>
          </a:solidFill>
          <a:prstDash val="dash"/>
        </a:ln>
        <a:effectLst/>
      </dsp:spPr>
      <dsp:style>
        <a:lnRef idx="2">
          <a:scrgbClr r="0" g="0" b="0"/>
        </a:lnRef>
        <a:fillRef idx="1">
          <a:scrgbClr r="0" g="0" b="0"/>
        </a:fillRef>
        <a:effectRef idx="0">
          <a:scrgbClr r="0" g="0" b="0"/>
        </a:effectRef>
        <a:fontRef idx="minor">
          <a:schemeClr val="lt1"/>
        </a:fontRef>
      </dsp:style>
      <dsp:txBody>
        <a:bodyPr spcFirstLastPara="0" vert="horz" wrap="square" lIns="218863" tIns="25400" rIns="25400" bIns="25400" numCol="1" spcCol="1270" anchor="ctr" anchorCtr="0">
          <a:noAutofit/>
        </a:bodyPr>
        <a:lstStyle/>
        <a:p>
          <a:pPr marL="0" lvl="0" indent="0" algn="l" defTabSz="444500" rtl="0">
            <a:lnSpc>
              <a:spcPct val="90000"/>
            </a:lnSpc>
            <a:spcBef>
              <a:spcPct val="0"/>
            </a:spcBef>
            <a:spcAft>
              <a:spcPct val="35000"/>
            </a:spcAft>
            <a:buNone/>
          </a:pPr>
          <a:r>
            <a:rPr lang="en-US" sz="1000" kern="1200">
              <a:solidFill>
                <a:schemeClr val="tx1"/>
              </a:solidFill>
              <a:latin typeface="Helvetica Neue"/>
            </a:rPr>
            <a:t># of Transformer Layer</a:t>
          </a:r>
          <a:endParaRPr lang="en-US" sz="1400" kern="1200">
            <a:solidFill>
              <a:schemeClr val="tx1"/>
            </a:solidFill>
            <a:latin typeface="Helvetica Neue"/>
          </a:endParaRPr>
        </a:p>
      </dsp:txBody>
      <dsp:txXfrm>
        <a:off x="214422" y="3144028"/>
        <a:ext cx="2173883" cy="275732"/>
      </dsp:txXfrm>
    </dsp:sp>
    <dsp:sp modelId="{6C7E0959-C83F-4054-B463-D90CE177EFB3}">
      <dsp:nvSpPr>
        <dsp:cNvPr id="0" name=""/>
        <dsp:cNvSpPr/>
      </dsp:nvSpPr>
      <dsp:spPr>
        <a:xfrm>
          <a:off x="42089" y="3109562"/>
          <a:ext cx="344665" cy="344665"/>
        </a:xfrm>
        <a:prstGeom prst="ellipse">
          <a:avLst/>
        </a:prstGeom>
        <a:solidFill>
          <a:schemeClr val="bg2"/>
        </a:solidFill>
        <a:ln w="3175" cap="flat" cmpd="sng" algn="ctr">
          <a:solidFill>
            <a:scrgbClr r="0" g="0" b="0"/>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16FDD8-872F-EA44-BC31-9A613B4F3255}">
      <dsp:nvSpPr>
        <dsp:cNvPr id="0" name=""/>
        <dsp:cNvSpPr/>
      </dsp:nvSpPr>
      <dsp:spPr>
        <a:xfrm>
          <a:off x="495136" y="852824"/>
          <a:ext cx="740406" cy="370203"/>
        </a:xfrm>
        <a:prstGeom prst="roundRect">
          <a:avLst>
            <a:gd name="adj" fmla="val 10000"/>
          </a:avLst>
        </a:prstGeom>
        <a:solidFill>
          <a:srgbClr val="D5D5D5"/>
        </a:solidFill>
        <a:ln w="127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Data Augmentation</a:t>
          </a:r>
        </a:p>
      </dsp:txBody>
      <dsp:txXfrm>
        <a:off x="505979" y="863667"/>
        <a:ext cx="718720" cy="348517"/>
      </dsp:txXfrm>
    </dsp:sp>
    <dsp:sp modelId="{6B26A4A9-C65E-B849-AA1F-82D89F129B6E}">
      <dsp:nvSpPr>
        <dsp:cNvPr id="0" name=""/>
        <dsp:cNvSpPr/>
      </dsp:nvSpPr>
      <dsp:spPr>
        <a:xfrm rot="17350740">
          <a:off x="932872" y="600811"/>
          <a:ext cx="901503" cy="22763"/>
        </a:xfrm>
        <a:custGeom>
          <a:avLst/>
          <a:gdLst/>
          <a:ahLst/>
          <a:cxnLst/>
          <a:rect l="0" t="0" r="0" b="0"/>
          <a:pathLst>
            <a:path>
              <a:moveTo>
                <a:pt x="0" y="11381"/>
              </a:moveTo>
              <a:lnTo>
                <a:pt x="901503"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61086" y="589655"/>
        <a:ext cx="45075" cy="45075"/>
      </dsp:txXfrm>
    </dsp:sp>
    <dsp:sp modelId="{A91BF052-F138-3147-A5C5-C502BE45B08F}">
      <dsp:nvSpPr>
        <dsp:cNvPr id="0" name=""/>
        <dsp:cNvSpPr/>
      </dsp:nvSpPr>
      <dsp:spPr>
        <a:xfrm>
          <a:off x="1531705" y="1357"/>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Random Horizontal Flipping</a:t>
          </a:r>
        </a:p>
      </dsp:txBody>
      <dsp:txXfrm>
        <a:off x="1542548" y="12200"/>
        <a:ext cx="1515049" cy="348517"/>
      </dsp:txXfrm>
    </dsp:sp>
    <dsp:sp modelId="{C8E6C50F-C079-7745-9765-1B439824A3F9}">
      <dsp:nvSpPr>
        <dsp:cNvPr id="0" name=""/>
        <dsp:cNvSpPr/>
      </dsp:nvSpPr>
      <dsp:spPr>
        <a:xfrm rot="18289469">
          <a:off x="1124316" y="813677"/>
          <a:ext cx="518614" cy="22763"/>
        </a:xfrm>
        <a:custGeom>
          <a:avLst/>
          <a:gdLst/>
          <a:ahLst/>
          <a:cxnLst/>
          <a:rect l="0" t="0" r="0" b="0"/>
          <a:pathLst>
            <a:path>
              <a:moveTo>
                <a:pt x="0" y="11381"/>
              </a:moveTo>
              <a:lnTo>
                <a:pt x="518614"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70658" y="812094"/>
        <a:ext cx="25930" cy="25930"/>
      </dsp:txXfrm>
    </dsp:sp>
    <dsp:sp modelId="{80BDAAB5-E8DA-A24A-B2B3-2FE7DC97A2EE}">
      <dsp:nvSpPr>
        <dsp:cNvPr id="0" name=""/>
        <dsp:cNvSpPr/>
      </dsp:nvSpPr>
      <dsp:spPr>
        <a:xfrm>
          <a:off x="1531705" y="427091"/>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Random Rotation</a:t>
          </a:r>
        </a:p>
      </dsp:txBody>
      <dsp:txXfrm>
        <a:off x="1542548" y="437934"/>
        <a:ext cx="1515049" cy="348517"/>
      </dsp:txXfrm>
    </dsp:sp>
    <dsp:sp modelId="{156175B4-C4FE-484F-B6B4-0630C84E9C24}">
      <dsp:nvSpPr>
        <dsp:cNvPr id="0" name=""/>
        <dsp:cNvSpPr/>
      </dsp:nvSpPr>
      <dsp:spPr>
        <a:xfrm>
          <a:off x="1235542" y="1026544"/>
          <a:ext cx="296162" cy="22763"/>
        </a:xfrm>
        <a:custGeom>
          <a:avLst/>
          <a:gdLst/>
          <a:ahLst/>
          <a:cxnLst/>
          <a:rect l="0" t="0" r="0" b="0"/>
          <a:pathLst>
            <a:path>
              <a:moveTo>
                <a:pt x="0" y="11381"/>
              </a:moveTo>
              <a:lnTo>
                <a:pt x="296162"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76219" y="1030522"/>
        <a:ext cx="14808" cy="14808"/>
      </dsp:txXfrm>
    </dsp:sp>
    <dsp:sp modelId="{86CFBC85-1771-7343-A37E-3353824A39E5}">
      <dsp:nvSpPr>
        <dsp:cNvPr id="0" name=""/>
        <dsp:cNvSpPr/>
      </dsp:nvSpPr>
      <dsp:spPr>
        <a:xfrm>
          <a:off x="1531705" y="852824"/>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Random Contrast</a:t>
          </a:r>
        </a:p>
      </dsp:txBody>
      <dsp:txXfrm>
        <a:off x="1542548" y="863667"/>
        <a:ext cx="1515049" cy="348517"/>
      </dsp:txXfrm>
    </dsp:sp>
    <dsp:sp modelId="{F33EFA89-C3CF-844D-B8F5-656013CE8860}">
      <dsp:nvSpPr>
        <dsp:cNvPr id="0" name=""/>
        <dsp:cNvSpPr/>
      </dsp:nvSpPr>
      <dsp:spPr>
        <a:xfrm rot="3310531">
          <a:off x="1124316" y="1239411"/>
          <a:ext cx="518614" cy="22763"/>
        </a:xfrm>
        <a:custGeom>
          <a:avLst/>
          <a:gdLst/>
          <a:ahLst/>
          <a:cxnLst/>
          <a:rect l="0" t="0" r="0" b="0"/>
          <a:pathLst>
            <a:path>
              <a:moveTo>
                <a:pt x="0" y="11381"/>
              </a:moveTo>
              <a:lnTo>
                <a:pt x="518614"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70658" y="1237827"/>
        <a:ext cx="25930" cy="25930"/>
      </dsp:txXfrm>
    </dsp:sp>
    <dsp:sp modelId="{6F3DD340-3A24-AC4E-B181-C736346881E5}">
      <dsp:nvSpPr>
        <dsp:cNvPr id="0" name=""/>
        <dsp:cNvSpPr/>
      </dsp:nvSpPr>
      <dsp:spPr>
        <a:xfrm>
          <a:off x="1531705" y="1278558"/>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Random Brightness</a:t>
          </a:r>
        </a:p>
      </dsp:txBody>
      <dsp:txXfrm>
        <a:off x="1542548" y="1289401"/>
        <a:ext cx="1515049" cy="348517"/>
      </dsp:txXfrm>
    </dsp:sp>
    <dsp:sp modelId="{87EBF2E3-4441-C44D-B465-DBEFDB3995B0}">
      <dsp:nvSpPr>
        <dsp:cNvPr id="0" name=""/>
        <dsp:cNvSpPr/>
      </dsp:nvSpPr>
      <dsp:spPr>
        <a:xfrm rot="4249260">
          <a:off x="932872" y="1452278"/>
          <a:ext cx="901503" cy="22763"/>
        </a:xfrm>
        <a:custGeom>
          <a:avLst/>
          <a:gdLst/>
          <a:ahLst/>
          <a:cxnLst/>
          <a:rect l="0" t="0" r="0" b="0"/>
          <a:pathLst>
            <a:path>
              <a:moveTo>
                <a:pt x="0" y="11381"/>
              </a:moveTo>
              <a:lnTo>
                <a:pt x="901503"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61086" y="1441122"/>
        <a:ext cx="45075" cy="45075"/>
      </dsp:txXfrm>
    </dsp:sp>
    <dsp:sp modelId="{06EF309D-A05E-8440-9447-8E0652C9938E}">
      <dsp:nvSpPr>
        <dsp:cNvPr id="0" name=""/>
        <dsp:cNvSpPr/>
      </dsp:nvSpPr>
      <dsp:spPr>
        <a:xfrm>
          <a:off x="1531705" y="1704291"/>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Random Translation</a:t>
          </a:r>
        </a:p>
      </dsp:txBody>
      <dsp:txXfrm>
        <a:off x="1542548" y="1715134"/>
        <a:ext cx="1515049" cy="348517"/>
      </dsp:txXfrm>
    </dsp:sp>
    <dsp:sp modelId="{82151661-3278-AC41-97E0-24581590B11E}">
      <dsp:nvSpPr>
        <dsp:cNvPr id="0" name=""/>
        <dsp:cNvSpPr/>
      </dsp:nvSpPr>
      <dsp:spPr>
        <a:xfrm>
          <a:off x="495136" y="2130025"/>
          <a:ext cx="740406" cy="370203"/>
        </a:xfrm>
        <a:prstGeom prst="roundRect">
          <a:avLst>
            <a:gd name="adj" fmla="val 10000"/>
          </a:avLst>
        </a:prstGeom>
        <a:solidFill>
          <a:srgbClr val="D5D5D5"/>
        </a:solidFill>
        <a:ln w="127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More Epochs</a:t>
          </a:r>
        </a:p>
      </dsp:txBody>
      <dsp:txXfrm>
        <a:off x="505979" y="2140868"/>
        <a:ext cx="718720" cy="348517"/>
      </dsp:txXfrm>
    </dsp:sp>
    <dsp:sp modelId="{C1B782B6-8491-E448-9003-0B1725918558}">
      <dsp:nvSpPr>
        <dsp:cNvPr id="0" name=""/>
        <dsp:cNvSpPr/>
      </dsp:nvSpPr>
      <dsp:spPr>
        <a:xfrm>
          <a:off x="1235542" y="2303745"/>
          <a:ext cx="296162" cy="22763"/>
        </a:xfrm>
        <a:custGeom>
          <a:avLst/>
          <a:gdLst/>
          <a:ahLst/>
          <a:cxnLst/>
          <a:rect l="0" t="0" r="0" b="0"/>
          <a:pathLst>
            <a:path>
              <a:moveTo>
                <a:pt x="0" y="11381"/>
              </a:moveTo>
              <a:lnTo>
                <a:pt x="296162"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76219" y="2307722"/>
        <a:ext cx="14808" cy="14808"/>
      </dsp:txXfrm>
    </dsp:sp>
    <dsp:sp modelId="{FA2F917F-A778-6E40-A6A2-326312421619}">
      <dsp:nvSpPr>
        <dsp:cNvPr id="0" name=""/>
        <dsp:cNvSpPr/>
      </dsp:nvSpPr>
      <dsp:spPr>
        <a:xfrm>
          <a:off x="1531705" y="2130025"/>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100 Epochs instead of only 10</a:t>
          </a:r>
        </a:p>
      </dsp:txBody>
      <dsp:txXfrm>
        <a:off x="1542548" y="2140868"/>
        <a:ext cx="1515049" cy="348517"/>
      </dsp:txXfrm>
    </dsp:sp>
    <dsp:sp modelId="{973D98EC-B6C3-EE43-BF98-66E290A8CF80}">
      <dsp:nvSpPr>
        <dsp:cNvPr id="0" name=""/>
        <dsp:cNvSpPr/>
      </dsp:nvSpPr>
      <dsp:spPr>
        <a:xfrm>
          <a:off x="495136" y="2555759"/>
          <a:ext cx="740406" cy="370203"/>
        </a:xfrm>
        <a:prstGeom prst="roundRect">
          <a:avLst>
            <a:gd name="adj" fmla="val 10000"/>
          </a:avLst>
        </a:prstGeom>
        <a:solidFill>
          <a:srgbClr val="D5D5D5"/>
        </a:solidFill>
        <a:ln w="127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Early Stopping</a:t>
          </a:r>
        </a:p>
      </dsp:txBody>
      <dsp:txXfrm>
        <a:off x="505979" y="2566602"/>
        <a:ext cx="718720" cy="348517"/>
      </dsp:txXfrm>
    </dsp:sp>
    <dsp:sp modelId="{30CA4377-8D46-3B40-9738-1063EC96EC0D}">
      <dsp:nvSpPr>
        <dsp:cNvPr id="0" name=""/>
        <dsp:cNvSpPr/>
      </dsp:nvSpPr>
      <dsp:spPr>
        <a:xfrm>
          <a:off x="1235542" y="2729478"/>
          <a:ext cx="296162" cy="22763"/>
        </a:xfrm>
        <a:custGeom>
          <a:avLst/>
          <a:gdLst/>
          <a:ahLst/>
          <a:cxnLst/>
          <a:rect l="0" t="0" r="0" b="0"/>
          <a:pathLst>
            <a:path>
              <a:moveTo>
                <a:pt x="0" y="11381"/>
              </a:moveTo>
              <a:lnTo>
                <a:pt x="296162"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376219" y="2733456"/>
        <a:ext cx="14808" cy="14808"/>
      </dsp:txXfrm>
    </dsp:sp>
    <dsp:sp modelId="{05929E7C-CD3F-7640-8C66-E284486EE659}">
      <dsp:nvSpPr>
        <dsp:cNvPr id="0" name=""/>
        <dsp:cNvSpPr/>
      </dsp:nvSpPr>
      <dsp:spPr>
        <a:xfrm>
          <a:off x="1531705" y="2555759"/>
          <a:ext cx="1536735" cy="370203"/>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Monitoring validation loss</a:t>
          </a:r>
        </a:p>
        <a:p>
          <a:pPr marL="0" lvl="0" indent="0" algn="ctr" defTabSz="311150">
            <a:lnSpc>
              <a:spcPct val="90000"/>
            </a:lnSpc>
            <a:spcBef>
              <a:spcPct val="0"/>
            </a:spcBef>
            <a:spcAft>
              <a:spcPct val="35000"/>
            </a:spcAft>
            <a:buNone/>
          </a:pPr>
          <a:r>
            <a:rPr lang="en-US" sz="700" kern="1200"/>
            <a:t> with patience = 3</a:t>
          </a:r>
        </a:p>
      </dsp:txBody>
      <dsp:txXfrm>
        <a:off x="1542548" y="2566602"/>
        <a:ext cx="1515049" cy="34851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05F29F-D528-194F-A6B5-AAA05D8DA922}">
      <dsp:nvSpPr>
        <dsp:cNvPr id="0" name=""/>
        <dsp:cNvSpPr/>
      </dsp:nvSpPr>
      <dsp:spPr>
        <a:xfrm>
          <a:off x="-3429047" y="-3595"/>
          <a:ext cx="4088538" cy="4088538"/>
        </a:xfrm>
        <a:prstGeom prst="blockArc">
          <a:avLst>
            <a:gd name="adj1" fmla="val 18900000"/>
            <a:gd name="adj2" fmla="val 2700000"/>
            <a:gd name="adj3" fmla="val 528"/>
          </a:avLst>
        </a:prstGeom>
        <a:solidFill>
          <a:srgbClr val="D5D5D5"/>
        </a:solidFill>
        <a:ln w="19050" cap="flat" cmpd="sng" algn="ctr">
          <a:noFill/>
          <a:prstDash val="solid"/>
        </a:ln>
        <a:effectLst/>
      </dsp:spPr>
      <dsp:style>
        <a:lnRef idx="2">
          <a:scrgbClr r="0" g="0" b="0"/>
        </a:lnRef>
        <a:fillRef idx="0">
          <a:scrgbClr r="0" g="0" b="0"/>
        </a:fillRef>
        <a:effectRef idx="0">
          <a:scrgbClr r="0" g="0" b="0"/>
        </a:effectRef>
        <a:fontRef idx="minor"/>
      </dsp:style>
    </dsp:sp>
    <dsp:sp modelId="{C53C6827-930E-1A4E-8C8A-9F7275335C27}">
      <dsp:nvSpPr>
        <dsp:cNvPr id="0" name=""/>
        <dsp:cNvSpPr/>
      </dsp:nvSpPr>
      <dsp:spPr>
        <a:xfrm>
          <a:off x="247189" y="683429"/>
          <a:ext cx="2141115" cy="319422"/>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53542" tIns="25400" rIns="25400" bIns="25400" numCol="1" spcCol="1270" anchor="ctr" anchorCtr="0">
          <a:noAutofit/>
        </a:bodyPr>
        <a:lstStyle/>
        <a:p>
          <a:pPr marL="0" lvl="0" indent="0" algn="l" defTabSz="444500">
            <a:lnSpc>
              <a:spcPct val="90000"/>
            </a:lnSpc>
            <a:spcBef>
              <a:spcPct val="0"/>
            </a:spcBef>
            <a:spcAft>
              <a:spcPct val="35000"/>
            </a:spcAft>
            <a:buNone/>
          </a:pPr>
          <a:r>
            <a:rPr lang="en-US" sz="1000" kern="1200">
              <a:solidFill>
                <a:schemeClr val="tx1"/>
              </a:solidFill>
            </a:rPr>
            <a:t>Learning rate</a:t>
          </a:r>
        </a:p>
      </dsp:txBody>
      <dsp:txXfrm>
        <a:off x="247189" y="683429"/>
        <a:ext cx="2141115" cy="319422"/>
      </dsp:txXfrm>
    </dsp:sp>
    <dsp:sp modelId="{1A95E120-89BB-1947-B752-24181DA708BE}">
      <dsp:nvSpPr>
        <dsp:cNvPr id="0" name=""/>
        <dsp:cNvSpPr/>
      </dsp:nvSpPr>
      <dsp:spPr>
        <a:xfrm>
          <a:off x="47550" y="643501"/>
          <a:ext cx="399278" cy="399278"/>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A4ED58E0-A177-9048-A733-42E78819C5B8}">
      <dsp:nvSpPr>
        <dsp:cNvPr id="0" name=""/>
        <dsp:cNvSpPr/>
      </dsp:nvSpPr>
      <dsp:spPr>
        <a:xfrm>
          <a:off x="509936" y="1162502"/>
          <a:ext cx="1878368" cy="319422"/>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53542" tIns="25400" rIns="25400" bIns="25400" numCol="1" spcCol="1270" anchor="ctr" anchorCtr="0">
          <a:noAutofit/>
        </a:bodyPr>
        <a:lstStyle/>
        <a:p>
          <a:pPr marL="0" lvl="0" indent="0" algn="l" defTabSz="444500">
            <a:lnSpc>
              <a:spcPct val="90000"/>
            </a:lnSpc>
            <a:spcBef>
              <a:spcPct val="0"/>
            </a:spcBef>
            <a:spcAft>
              <a:spcPct val="35000"/>
            </a:spcAft>
            <a:buNone/>
          </a:pPr>
          <a:r>
            <a:rPr lang="en-US" sz="1000" kern="1200">
              <a:solidFill>
                <a:schemeClr val="tx1"/>
              </a:solidFill>
            </a:rPr>
            <a:t># Neurons in dense layer</a:t>
          </a:r>
        </a:p>
      </dsp:txBody>
      <dsp:txXfrm>
        <a:off x="509936" y="1162502"/>
        <a:ext cx="1878368" cy="319422"/>
      </dsp:txXfrm>
    </dsp:sp>
    <dsp:sp modelId="{8BD879D5-6C99-2D4B-AFE5-D8BB0ECE54A4}">
      <dsp:nvSpPr>
        <dsp:cNvPr id="0" name=""/>
        <dsp:cNvSpPr/>
      </dsp:nvSpPr>
      <dsp:spPr>
        <a:xfrm>
          <a:off x="310297" y="1122575"/>
          <a:ext cx="399278" cy="399278"/>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3BCB405A-2BCE-D942-B399-7BC3AF954513}">
      <dsp:nvSpPr>
        <dsp:cNvPr id="0" name=""/>
        <dsp:cNvSpPr/>
      </dsp:nvSpPr>
      <dsp:spPr>
        <a:xfrm>
          <a:off x="630084" y="1641576"/>
          <a:ext cx="1758221" cy="319422"/>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53542" tIns="25400" rIns="25400" bIns="25400" numCol="1" spcCol="1270" anchor="ctr" anchorCtr="0">
          <a:noAutofit/>
        </a:bodyPr>
        <a:lstStyle/>
        <a:p>
          <a:pPr marL="0" lvl="0" indent="0" algn="l" defTabSz="444500">
            <a:lnSpc>
              <a:spcPct val="90000"/>
            </a:lnSpc>
            <a:spcBef>
              <a:spcPct val="0"/>
            </a:spcBef>
            <a:spcAft>
              <a:spcPct val="35000"/>
            </a:spcAft>
            <a:buNone/>
          </a:pPr>
          <a:r>
            <a:rPr lang="en-US" sz="1000" kern="1200">
              <a:solidFill>
                <a:schemeClr val="tx1"/>
              </a:solidFill>
            </a:rPr>
            <a:t>Dropout rate</a:t>
          </a:r>
        </a:p>
      </dsp:txBody>
      <dsp:txXfrm>
        <a:off x="630084" y="1641576"/>
        <a:ext cx="1758221" cy="319422"/>
      </dsp:txXfrm>
    </dsp:sp>
    <dsp:sp modelId="{45467174-D124-8848-9733-B54F52B065A1}">
      <dsp:nvSpPr>
        <dsp:cNvPr id="0" name=""/>
        <dsp:cNvSpPr/>
      </dsp:nvSpPr>
      <dsp:spPr>
        <a:xfrm>
          <a:off x="430445" y="1601648"/>
          <a:ext cx="399278" cy="399278"/>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5001DF0-276B-3248-A1C5-96D319467916}">
      <dsp:nvSpPr>
        <dsp:cNvPr id="0" name=""/>
        <dsp:cNvSpPr/>
      </dsp:nvSpPr>
      <dsp:spPr>
        <a:xfrm>
          <a:off x="630084" y="2120346"/>
          <a:ext cx="1758221" cy="319422"/>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53542" tIns="25400" rIns="25400" bIns="25400" numCol="1" spcCol="1270" anchor="ctr" anchorCtr="0">
          <a:noAutofit/>
        </a:bodyPr>
        <a:lstStyle/>
        <a:p>
          <a:pPr marL="0" lvl="0" indent="0" algn="l" defTabSz="444500">
            <a:lnSpc>
              <a:spcPct val="90000"/>
            </a:lnSpc>
            <a:spcBef>
              <a:spcPct val="0"/>
            </a:spcBef>
            <a:spcAft>
              <a:spcPct val="35000"/>
            </a:spcAft>
            <a:buNone/>
          </a:pPr>
          <a:r>
            <a:rPr lang="en-US" sz="1000" kern="1200">
              <a:solidFill>
                <a:schemeClr val="tx1"/>
              </a:solidFill>
            </a:rPr>
            <a:t>Batch normalization</a:t>
          </a:r>
        </a:p>
      </dsp:txBody>
      <dsp:txXfrm>
        <a:off x="630084" y="2120346"/>
        <a:ext cx="1758221" cy="319422"/>
      </dsp:txXfrm>
    </dsp:sp>
    <dsp:sp modelId="{53E84DE1-3358-9147-B947-1BB2B3A74D13}">
      <dsp:nvSpPr>
        <dsp:cNvPr id="0" name=""/>
        <dsp:cNvSpPr/>
      </dsp:nvSpPr>
      <dsp:spPr>
        <a:xfrm>
          <a:off x="430445" y="2080418"/>
          <a:ext cx="399278" cy="399278"/>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3F8D2C8-077A-0F44-8C45-6E16F9D2977A}">
      <dsp:nvSpPr>
        <dsp:cNvPr id="0" name=""/>
        <dsp:cNvSpPr/>
      </dsp:nvSpPr>
      <dsp:spPr>
        <a:xfrm>
          <a:off x="509936" y="2599420"/>
          <a:ext cx="1878368" cy="319422"/>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53542" tIns="25400" rIns="25400" bIns="25400" numCol="1" spcCol="1270" anchor="ctr" anchorCtr="0">
          <a:noAutofit/>
        </a:bodyPr>
        <a:lstStyle/>
        <a:p>
          <a:pPr marL="0" lvl="0" indent="0" algn="l" defTabSz="444500">
            <a:lnSpc>
              <a:spcPct val="90000"/>
            </a:lnSpc>
            <a:spcBef>
              <a:spcPct val="0"/>
            </a:spcBef>
            <a:spcAft>
              <a:spcPct val="35000"/>
            </a:spcAft>
            <a:buNone/>
          </a:pPr>
          <a:r>
            <a:rPr lang="en-US" sz="1000" kern="1200">
              <a:solidFill>
                <a:schemeClr val="tx1"/>
              </a:solidFill>
            </a:rPr>
            <a:t>L2 regularization</a:t>
          </a:r>
        </a:p>
      </dsp:txBody>
      <dsp:txXfrm>
        <a:off x="509936" y="2599420"/>
        <a:ext cx="1878368" cy="319422"/>
      </dsp:txXfrm>
    </dsp:sp>
    <dsp:sp modelId="{042AA417-94A3-1D42-82E1-9BDDBFE67E38}">
      <dsp:nvSpPr>
        <dsp:cNvPr id="0" name=""/>
        <dsp:cNvSpPr/>
      </dsp:nvSpPr>
      <dsp:spPr>
        <a:xfrm>
          <a:off x="310297" y="2559492"/>
          <a:ext cx="399278" cy="399278"/>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DBD36D8-829A-4B44-A43B-2FF0B5D40880}">
      <dsp:nvSpPr>
        <dsp:cNvPr id="0" name=""/>
        <dsp:cNvSpPr/>
      </dsp:nvSpPr>
      <dsp:spPr>
        <a:xfrm>
          <a:off x="247189" y="3078493"/>
          <a:ext cx="2141115" cy="319422"/>
        </a:xfrm>
        <a:prstGeom prst="rect">
          <a:avLst/>
        </a:prstGeom>
        <a:noFill/>
        <a:ln w="12700" cap="flat" cmpd="sng" algn="ctr">
          <a:solidFill>
            <a:schemeClr val="tx1"/>
          </a:solidFill>
          <a:prstDash val="sysDash"/>
        </a:ln>
        <a:effectLst/>
      </dsp:spPr>
      <dsp:style>
        <a:lnRef idx="2">
          <a:scrgbClr r="0" g="0" b="0"/>
        </a:lnRef>
        <a:fillRef idx="1">
          <a:scrgbClr r="0" g="0" b="0"/>
        </a:fillRef>
        <a:effectRef idx="0">
          <a:scrgbClr r="0" g="0" b="0"/>
        </a:effectRef>
        <a:fontRef idx="minor">
          <a:schemeClr val="lt1"/>
        </a:fontRef>
      </dsp:style>
      <dsp:txBody>
        <a:bodyPr spcFirstLastPara="0" vert="horz" wrap="square" lIns="253542" tIns="25400" rIns="25400" bIns="25400" numCol="1" spcCol="1270" anchor="ctr" anchorCtr="0">
          <a:noAutofit/>
        </a:bodyPr>
        <a:lstStyle/>
        <a:p>
          <a:pPr marL="0" lvl="0" indent="0" algn="l" defTabSz="444500">
            <a:lnSpc>
              <a:spcPct val="90000"/>
            </a:lnSpc>
            <a:spcBef>
              <a:spcPct val="0"/>
            </a:spcBef>
            <a:spcAft>
              <a:spcPct val="35000"/>
            </a:spcAft>
            <a:buNone/>
          </a:pPr>
          <a:r>
            <a:rPr lang="en-US" sz="1000" kern="1200">
              <a:solidFill>
                <a:schemeClr val="tx1"/>
              </a:solidFill>
            </a:rPr>
            <a:t>( # Dense Layers )</a:t>
          </a:r>
        </a:p>
      </dsp:txBody>
      <dsp:txXfrm>
        <a:off x="247189" y="3078493"/>
        <a:ext cx="2141115" cy="319422"/>
      </dsp:txXfrm>
    </dsp:sp>
    <dsp:sp modelId="{0C1DB10A-E691-F746-BD0C-B70BC01D07D3}">
      <dsp:nvSpPr>
        <dsp:cNvPr id="0" name=""/>
        <dsp:cNvSpPr/>
      </dsp:nvSpPr>
      <dsp:spPr>
        <a:xfrm>
          <a:off x="47550" y="3038565"/>
          <a:ext cx="399278" cy="399278"/>
        </a:xfrm>
        <a:prstGeom prst="ellipse">
          <a:avLst/>
        </a:prstGeom>
        <a:solidFill>
          <a:srgbClr val="D5D5D5"/>
        </a:solidFill>
        <a:ln w="127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16FDD8-872F-EA44-BC31-9A613B4F3255}">
      <dsp:nvSpPr>
        <dsp:cNvPr id="0" name=""/>
        <dsp:cNvSpPr/>
      </dsp:nvSpPr>
      <dsp:spPr>
        <a:xfrm>
          <a:off x="228699" y="938347"/>
          <a:ext cx="814655" cy="407327"/>
        </a:xfrm>
        <a:prstGeom prst="roundRect">
          <a:avLst>
            <a:gd name="adj" fmla="val 10000"/>
          </a:avLst>
        </a:prstGeom>
        <a:solidFill>
          <a:srgbClr val="D5D5D5"/>
        </a:solidFill>
        <a:ln w="127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a:t>Data Augmentation</a:t>
          </a:r>
        </a:p>
      </dsp:txBody>
      <dsp:txXfrm>
        <a:off x="240629" y="950277"/>
        <a:ext cx="790795" cy="383467"/>
      </dsp:txXfrm>
    </dsp:sp>
    <dsp:sp modelId="{6B26A4A9-C65E-B849-AA1F-82D89F129B6E}">
      <dsp:nvSpPr>
        <dsp:cNvPr id="0" name=""/>
        <dsp:cNvSpPr/>
      </dsp:nvSpPr>
      <dsp:spPr>
        <a:xfrm rot="17350740">
          <a:off x="710331" y="662202"/>
          <a:ext cx="991907" cy="22763"/>
        </a:xfrm>
        <a:custGeom>
          <a:avLst/>
          <a:gdLst/>
          <a:ahLst/>
          <a:cxnLst/>
          <a:rect l="0" t="0" r="0" b="0"/>
          <a:pathLst>
            <a:path>
              <a:moveTo>
                <a:pt x="0" y="11381"/>
              </a:moveTo>
              <a:lnTo>
                <a:pt x="991907"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181487" y="648786"/>
        <a:ext cx="49595" cy="49595"/>
      </dsp:txXfrm>
    </dsp:sp>
    <dsp:sp modelId="{A91BF052-F138-3147-A5C5-C502BE45B08F}">
      <dsp:nvSpPr>
        <dsp:cNvPr id="0" name=""/>
        <dsp:cNvSpPr/>
      </dsp:nvSpPr>
      <dsp:spPr>
        <a:xfrm>
          <a:off x="1369216" y="1494"/>
          <a:ext cx="1690841" cy="407327"/>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a:t>Random Horizontal Flipping</a:t>
          </a:r>
        </a:p>
      </dsp:txBody>
      <dsp:txXfrm>
        <a:off x="1381146" y="13424"/>
        <a:ext cx="1666981" cy="383467"/>
      </dsp:txXfrm>
    </dsp:sp>
    <dsp:sp modelId="{C8E6C50F-C079-7745-9765-1B439824A3F9}">
      <dsp:nvSpPr>
        <dsp:cNvPr id="0" name=""/>
        <dsp:cNvSpPr/>
      </dsp:nvSpPr>
      <dsp:spPr>
        <a:xfrm rot="18289469">
          <a:off x="920974" y="896416"/>
          <a:ext cx="570622" cy="22763"/>
        </a:xfrm>
        <a:custGeom>
          <a:avLst/>
          <a:gdLst/>
          <a:ahLst/>
          <a:cxnLst/>
          <a:rect l="0" t="0" r="0" b="0"/>
          <a:pathLst>
            <a:path>
              <a:moveTo>
                <a:pt x="0" y="11381"/>
              </a:moveTo>
              <a:lnTo>
                <a:pt x="570622"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192019" y="893532"/>
        <a:ext cx="28531" cy="28531"/>
      </dsp:txXfrm>
    </dsp:sp>
    <dsp:sp modelId="{80BDAAB5-E8DA-A24A-B2B3-2FE7DC97A2EE}">
      <dsp:nvSpPr>
        <dsp:cNvPr id="0" name=""/>
        <dsp:cNvSpPr/>
      </dsp:nvSpPr>
      <dsp:spPr>
        <a:xfrm>
          <a:off x="1369216" y="469920"/>
          <a:ext cx="1690841" cy="407327"/>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a:t>Random Rotation</a:t>
          </a:r>
        </a:p>
      </dsp:txBody>
      <dsp:txXfrm>
        <a:off x="1381146" y="481850"/>
        <a:ext cx="1666981" cy="383467"/>
      </dsp:txXfrm>
    </dsp:sp>
    <dsp:sp modelId="{156175B4-C4FE-484F-B6B4-0630C84E9C24}">
      <dsp:nvSpPr>
        <dsp:cNvPr id="0" name=""/>
        <dsp:cNvSpPr/>
      </dsp:nvSpPr>
      <dsp:spPr>
        <a:xfrm>
          <a:off x="1043354" y="1130629"/>
          <a:ext cx="325862" cy="22763"/>
        </a:xfrm>
        <a:custGeom>
          <a:avLst/>
          <a:gdLst/>
          <a:ahLst/>
          <a:cxnLst/>
          <a:rect l="0" t="0" r="0" b="0"/>
          <a:pathLst>
            <a:path>
              <a:moveTo>
                <a:pt x="0" y="11381"/>
              </a:moveTo>
              <a:lnTo>
                <a:pt x="325862"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198138" y="1133864"/>
        <a:ext cx="16293" cy="16293"/>
      </dsp:txXfrm>
    </dsp:sp>
    <dsp:sp modelId="{86CFBC85-1771-7343-A37E-3353824A39E5}">
      <dsp:nvSpPr>
        <dsp:cNvPr id="0" name=""/>
        <dsp:cNvSpPr/>
      </dsp:nvSpPr>
      <dsp:spPr>
        <a:xfrm>
          <a:off x="1369216" y="938347"/>
          <a:ext cx="1690841" cy="407327"/>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a:t>Random Contrast</a:t>
          </a:r>
        </a:p>
      </dsp:txBody>
      <dsp:txXfrm>
        <a:off x="1381146" y="950277"/>
        <a:ext cx="1666981" cy="383467"/>
      </dsp:txXfrm>
    </dsp:sp>
    <dsp:sp modelId="{F33EFA89-C3CF-844D-B8F5-656013CE8860}">
      <dsp:nvSpPr>
        <dsp:cNvPr id="0" name=""/>
        <dsp:cNvSpPr/>
      </dsp:nvSpPr>
      <dsp:spPr>
        <a:xfrm rot="3310531">
          <a:off x="920974" y="1364842"/>
          <a:ext cx="570622" cy="22763"/>
        </a:xfrm>
        <a:custGeom>
          <a:avLst/>
          <a:gdLst/>
          <a:ahLst/>
          <a:cxnLst/>
          <a:rect l="0" t="0" r="0" b="0"/>
          <a:pathLst>
            <a:path>
              <a:moveTo>
                <a:pt x="0" y="11381"/>
              </a:moveTo>
              <a:lnTo>
                <a:pt x="570622"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192019" y="1361959"/>
        <a:ext cx="28531" cy="28531"/>
      </dsp:txXfrm>
    </dsp:sp>
    <dsp:sp modelId="{6F3DD340-3A24-AC4E-B181-C736346881E5}">
      <dsp:nvSpPr>
        <dsp:cNvPr id="0" name=""/>
        <dsp:cNvSpPr/>
      </dsp:nvSpPr>
      <dsp:spPr>
        <a:xfrm>
          <a:off x="1369216" y="1406774"/>
          <a:ext cx="1690841" cy="407327"/>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a:t>Random Brightness</a:t>
          </a:r>
        </a:p>
      </dsp:txBody>
      <dsp:txXfrm>
        <a:off x="1381146" y="1418704"/>
        <a:ext cx="1666981" cy="383467"/>
      </dsp:txXfrm>
    </dsp:sp>
    <dsp:sp modelId="{87EBF2E3-4441-C44D-B465-DBEFDB3995B0}">
      <dsp:nvSpPr>
        <dsp:cNvPr id="0" name=""/>
        <dsp:cNvSpPr/>
      </dsp:nvSpPr>
      <dsp:spPr>
        <a:xfrm rot="4249260">
          <a:off x="710331" y="1599056"/>
          <a:ext cx="991907" cy="22763"/>
        </a:xfrm>
        <a:custGeom>
          <a:avLst/>
          <a:gdLst/>
          <a:ahLst/>
          <a:cxnLst/>
          <a:rect l="0" t="0" r="0" b="0"/>
          <a:pathLst>
            <a:path>
              <a:moveTo>
                <a:pt x="0" y="11381"/>
              </a:moveTo>
              <a:lnTo>
                <a:pt x="991907"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181487" y="1585640"/>
        <a:ext cx="49595" cy="49595"/>
      </dsp:txXfrm>
    </dsp:sp>
    <dsp:sp modelId="{06EF309D-A05E-8440-9447-8E0652C9938E}">
      <dsp:nvSpPr>
        <dsp:cNvPr id="0" name=""/>
        <dsp:cNvSpPr/>
      </dsp:nvSpPr>
      <dsp:spPr>
        <a:xfrm>
          <a:off x="1369216" y="1875200"/>
          <a:ext cx="1690841" cy="407327"/>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a:t>Random Translation</a:t>
          </a:r>
        </a:p>
      </dsp:txBody>
      <dsp:txXfrm>
        <a:off x="1381146" y="1887130"/>
        <a:ext cx="1666981" cy="383467"/>
      </dsp:txXfrm>
    </dsp:sp>
    <dsp:sp modelId="{82151661-3278-AC41-97E0-24581590B11E}">
      <dsp:nvSpPr>
        <dsp:cNvPr id="0" name=""/>
        <dsp:cNvSpPr/>
      </dsp:nvSpPr>
      <dsp:spPr>
        <a:xfrm>
          <a:off x="228699" y="2343627"/>
          <a:ext cx="814655" cy="407327"/>
        </a:xfrm>
        <a:prstGeom prst="roundRect">
          <a:avLst>
            <a:gd name="adj" fmla="val 10000"/>
          </a:avLst>
        </a:prstGeom>
        <a:solidFill>
          <a:srgbClr val="D5D5D5"/>
        </a:solidFill>
        <a:ln w="127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a:t>More Epochs</a:t>
          </a:r>
        </a:p>
      </dsp:txBody>
      <dsp:txXfrm>
        <a:off x="240629" y="2355557"/>
        <a:ext cx="790795" cy="383467"/>
      </dsp:txXfrm>
    </dsp:sp>
    <dsp:sp modelId="{C1B782B6-8491-E448-9003-0B1725918558}">
      <dsp:nvSpPr>
        <dsp:cNvPr id="0" name=""/>
        <dsp:cNvSpPr/>
      </dsp:nvSpPr>
      <dsp:spPr>
        <a:xfrm>
          <a:off x="1043354" y="2535909"/>
          <a:ext cx="325862" cy="22763"/>
        </a:xfrm>
        <a:custGeom>
          <a:avLst/>
          <a:gdLst/>
          <a:ahLst/>
          <a:cxnLst/>
          <a:rect l="0" t="0" r="0" b="0"/>
          <a:pathLst>
            <a:path>
              <a:moveTo>
                <a:pt x="0" y="11381"/>
              </a:moveTo>
              <a:lnTo>
                <a:pt x="325862"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198138" y="2539144"/>
        <a:ext cx="16293" cy="16293"/>
      </dsp:txXfrm>
    </dsp:sp>
    <dsp:sp modelId="{FA2F917F-A778-6E40-A6A2-326312421619}">
      <dsp:nvSpPr>
        <dsp:cNvPr id="0" name=""/>
        <dsp:cNvSpPr/>
      </dsp:nvSpPr>
      <dsp:spPr>
        <a:xfrm>
          <a:off x="1369216" y="2343627"/>
          <a:ext cx="1690841" cy="407327"/>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a:t>100 Epochs instead of only 10</a:t>
          </a:r>
        </a:p>
      </dsp:txBody>
      <dsp:txXfrm>
        <a:off x="1381146" y="2355557"/>
        <a:ext cx="1666981" cy="383467"/>
      </dsp:txXfrm>
    </dsp:sp>
    <dsp:sp modelId="{973D98EC-B6C3-EE43-BF98-66E290A8CF80}">
      <dsp:nvSpPr>
        <dsp:cNvPr id="0" name=""/>
        <dsp:cNvSpPr/>
      </dsp:nvSpPr>
      <dsp:spPr>
        <a:xfrm>
          <a:off x="228699" y="2812054"/>
          <a:ext cx="814655" cy="407327"/>
        </a:xfrm>
        <a:prstGeom prst="roundRect">
          <a:avLst>
            <a:gd name="adj" fmla="val 10000"/>
          </a:avLst>
        </a:prstGeom>
        <a:solidFill>
          <a:srgbClr val="D5D5D5"/>
        </a:solidFill>
        <a:ln w="127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a:t>Early Stopping</a:t>
          </a:r>
        </a:p>
      </dsp:txBody>
      <dsp:txXfrm>
        <a:off x="240629" y="2823984"/>
        <a:ext cx="790795" cy="383467"/>
      </dsp:txXfrm>
    </dsp:sp>
    <dsp:sp modelId="{30CA4377-8D46-3B40-9738-1063EC96EC0D}">
      <dsp:nvSpPr>
        <dsp:cNvPr id="0" name=""/>
        <dsp:cNvSpPr/>
      </dsp:nvSpPr>
      <dsp:spPr>
        <a:xfrm>
          <a:off x="1043354" y="3004336"/>
          <a:ext cx="325862" cy="22763"/>
        </a:xfrm>
        <a:custGeom>
          <a:avLst/>
          <a:gdLst/>
          <a:ahLst/>
          <a:cxnLst/>
          <a:rect l="0" t="0" r="0" b="0"/>
          <a:pathLst>
            <a:path>
              <a:moveTo>
                <a:pt x="0" y="11381"/>
              </a:moveTo>
              <a:lnTo>
                <a:pt x="325862" y="11381"/>
              </a:lnTo>
            </a:path>
          </a:pathLst>
        </a:custGeom>
        <a:noFill/>
        <a:ln w="12700" cap="flat" cmpd="sng" algn="ctr">
          <a:solidFill>
            <a:scrgbClr r="0" g="0" b="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198138" y="3007571"/>
        <a:ext cx="16293" cy="16293"/>
      </dsp:txXfrm>
    </dsp:sp>
    <dsp:sp modelId="{05929E7C-CD3F-7640-8C66-E284486EE659}">
      <dsp:nvSpPr>
        <dsp:cNvPr id="0" name=""/>
        <dsp:cNvSpPr/>
      </dsp:nvSpPr>
      <dsp:spPr>
        <a:xfrm>
          <a:off x="1369216" y="2812054"/>
          <a:ext cx="1690841" cy="407327"/>
        </a:xfrm>
        <a:prstGeom prst="roundRect">
          <a:avLst>
            <a:gd name="adj" fmla="val 10000"/>
          </a:avLst>
        </a:prstGeom>
        <a:solidFill>
          <a:schemeClr val="lt1">
            <a:hueOff val="0"/>
            <a:satOff val="0"/>
            <a:lumOff val="0"/>
            <a:alphaOff val="0"/>
          </a:schemeClr>
        </a:solidFill>
        <a:ln w="12700" cap="flat" cmpd="sng" algn="ctr">
          <a:solidFill>
            <a:scrgbClr r="0" g="0" b="0"/>
          </a:solidFill>
          <a:prstDash val="sysDot"/>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a:t>Monitoring validation loss</a:t>
          </a:r>
        </a:p>
        <a:p>
          <a:pPr marL="0" lvl="0" indent="0" algn="ctr" defTabSz="355600">
            <a:lnSpc>
              <a:spcPct val="90000"/>
            </a:lnSpc>
            <a:spcBef>
              <a:spcPct val="0"/>
            </a:spcBef>
            <a:spcAft>
              <a:spcPct val="35000"/>
            </a:spcAft>
            <a:buNone/>
          </a:pPr>
          <a:r>
            <a:rPr lang="en-US" sz="800" kern="1200"/>
            <a:t> with patience = 3</a:t>
          </a:r>
        </a:p>
      </dsp:txBody>
      <dsp:txXfrm>
        <a:off x="1381146" y="2823984"/>
        <a:ext cx="1666981" cy="383467"/>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FB7D254-CE4B-3BA2-3C34-095F406FCB9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C0C147A6-7F68-A30E-C995-394C2790856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80B696A-FEB5-42E1-8F73-38BD22E88086}" type="datetimeFigureOut">
              <a:rPr lang="en-US" smtClean="0"/>
              <a:t>5/17/2024</a:t>
            </a:fld>
            <a:endParaRPr lang="en-US"/>
          </a:p>
        </p:txBody>
      </p:sp>
      <p:sp>
        <p:nvSpPr>
          <p:cNvPr id="4" name="Fußzeilenplatzhalter 3">
            <a:extLst>
              <a:ext uri="{FF2B5EF4-FFF2-40B4-BE49-F238E27FC236}">
                <a16:creationId xmlns:a16="http://schemas.microsoft.com/office/drawing/2014/main" id="{48E4C49B-3586-CE6A-30A8-DA07CC7802F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706EC6FA-47AB-2E94-87F1-44B3E92CD33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5FF45D6-D67C-4F9C-93B5-43930AAE6C18}" type="slidenum">
              <a:rPr lang="en-US" smtClean="0"/>
              <a:t>‹#›</a:t>
            </a:fld>
            <a:endParaRPr lang="en-US"/>
          </a:p>
        </p:txBody>
      </p:sp>
    </p:spTree>
    <p:extLst>
      <p:ext uri="{BB962C8B-B14F-4D97-AF65-F5344CB8AC3E}">
        <p14:creationId xmlns:p14="http://schemas.microsoft.com/office/powerpoint/2010/main" val="31425586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BEB2F84-E620-4DDC-AA12-937629DBBB70}" type="datetimeFigureOut">
              <a:rPr lang="de-DE" smtClean="0"/>
              <a:t>17.05.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9A3FFD-5EE4-40D2-9ADB-93BCEAA46256}" type="slidenum">
              <a:rPr lang="de-DE" smtClean="0"/>
              <a:t>‹#›</a:t>
            </a:fld>
            <a:endParaRPr lang="de-DE"/>
          </a:p>
        </p:txBody>
      </p:sp>
    </p:spTree>
    <p:extLst>
      <p:ext uri="{BB962C8B-B14F-4D97-AF65-F5344CB8AC3E}">
        <p14:creationId xmlns:p14="http://schemas.microsoft.com/office/powerpoint/2010/main" val="40406652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A3FFD-5EE4-40D2-9ADB-93BCEAA46256}" type="slidenum">
              <a:rPr lang="de-DE" smtClean="0"/>
              <a:t>6</a:t>
            </a:fld>
            <a:endParaRPr lang="de-DE"/>
          </a:p>
        </p:txBody>
      </p:sp>
    </p:spTree>
    <p:extLst>
      <p:ext uri="{BB962C8B-B14F-4D97-AF65-F5344CB8AC3E}">
        <p14:creationId xmlns:p14="http://schemas.microsoft.com/office/powerpoint/2010/main" val="37075269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13">
    <p:spTree>
      <p:nvGrpSpPr>
        <p:cNvPr id="1" name=""/>
        <p:cNvGrpSpPr/>
        <p:nvPr/>
      </p:nvGrpSpPr>
      <p:grpSpPr>
        <a:xfrm>
          <a:off x="0" y="0"/>
          <a:ext cx="0" cy="0"/>
          <a:chOff x="0" y="0"/>
          <a:chExt cx="0" cy="0"/>
        </a:xfrm>
      </p:grpSpPr>
      <p:sp>
        <p:nvSpPr>
          <p:cNvPr id="18" name="Rectangle 17"/>
          <p:cNvSpPr/>
          <p:nvPr userDrawn="1"/>
        </p:nvSpPr>
        <p:spPr>
          <a:xfrm>
            <a:off x="0" y="5886794"/>
            <a:ext cx="12192000" cy="246221"/>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GB" sz="1600" b="0" i="0" u="none" strike="noStrike" cap="none" spc="0" normalizeH="0" baseline="0">
              <a:ln>
                <a:noFill/>
              </a:ln>
              <a:solidFill>
                <a:srgbClr val="FFFFFF"/>
              </a:solidFill>
              <a:effectLst/>
              <a:uFillTx/>
              <a:latin typeface="+mn-lt"/>
              <a:ea typeface="+mn-ea"/>
              <a:cs typeface="+mn-cs"/>
              <a:sym typeface="Helvetica Neue Medium"/>
            </a:endParaRPr>
          </a:p>
        </p:txBody>
      </p:sp>
      <p:pic>
        <p:nvPicPr>
          <p:cNvPr id="19" name="Image" descr="Image"/>
          <p:cNvPicPr>
            <a:picLocks noChangeAspect="1"/>
          </p:cNvPicPr>
          <p:nvPr userDrawn="1"/>
        </p:nvPicPr>
        <p:blipFill>
          <a:blip r:embed="rId2"/>
          <a:stretch>
            <a:fillRect/>
          </a:stretch>
        </p:blipFill>
        <p:spPr>
          <a:xfrm>
            <a:off x="311340" y="6313916"/>
            <a:ext cx="1709282" cy="285276"/>
          </a:xfrm>
          <a:prstGeom prst="rect">
            <a:avLst/>
          </a:prstGeom>
          <a:ln w="12700">
            <a:miter lim="400000"/>
          </a:ln>
        </p:spPr>
      </p:pic>
      <p:sp>
        <p:nvSpPr>
          <p:cNvPr id="2" name="Text Placeholder 21">
            <a:extLst>
              <a:ext uri="{FF2B5EF4-FFF2-40B4-BE49-F238E27FC236}">
                <a16:creationId xmlns:a16="http://schemas.microsoft.com/office/drawing/2014/main" id="{821692A0-AFD1-F4F8-6D96-45F8EE8A0A02}"/>
              </a:ext>
            </a:extLst>
          </p:cNvPr>
          <p:cNvSpPr txBox="1">
            <a:spLocks/>
          </p:cNvSpPr>
          <p:nvPr userDrawn="1"/>
        </p:nvSpPr>
        <p:spPr>
          <a:xfrm>
            <a:off x="461169" y="364775"/>
            <a:ext cx="5415090" cy="221919"/>
          </a:xfrm>
          <a:prstGeom prst="rect">
            <a:avLst/>
          </a:prstGeom>
        </p:spPr>
        <p:txBody>
          <a:bodyPr/>
          <a:lstStyle>
            <a:lvl1pPr marL="0" marR="0" indent="0" algn="l" defTabSz="412750" latinLnBrk="0">
              <a:lnSpc>
                <a:spcPct val="100000"/>
              </a:lnSpc>
              <a:spcBef>
                <a:spcPts val="2950"/>
              </a:spcBef>
              <a:spcAft>
                <a:spcPts val="0"/>
              </a:spcAft>
              <a:buClrTx/>
              <a:buSzPct val="125000"/>
              <a:buFontTx/>
              <a:buNone/>
              <a:tabLst/>
              <a:defRPr sz="1000" b="0" i="0" u="none" strike="noStrike" cap="all" spc="0" baseline="0">
                <a:ln>
                  <a:noFill/>
                </a:ln>
                <a:solidFill>
                  <a:srgbClr val="000000"/>
                </a:solidFill>
                <a:uFillTx/>
                <a:latin typeface="Open Sans "/>
                <a:ea typeface="Open Sans Light" panose="020B0306030504020204" pitchFamily="34" charset="0"/>
                <a:cs typeface="Open Sans Light" panose="020B0306030504020204" pitchFamily="34" charset="0"/>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r>
              <a:rPr lang="en-US" kern="0" err="1"/>
              <a:t>Bloodcell</a:t>
            </a:r>
            <a:r>
              <a:rPr lang="en-US" kern="0"/>
              <a:t> ai | 17.05.2024</a:t>
            </a:r>
            <a:endParaRPr lang="en-GB" kern="0"/>
          </a:p>
        </p:txBody>
      </p:sp>
      <p:sp>
        <p:nvSpPr>
          <p:cNvPr id="3" name="Text Placeholder 2">
            <a:extLst>
              <a:ext uri="{FF2B5EF4-FFF2-40B4-BE49-F238E27FC236}">
                <a16:creationId xmlns:a16="http://schemas.microsoft.com/office/drawing/2014/main" id="{B9953D7F-389A-9FBE-7449-532A91327CAB}"/>
              </a:ext>
            </a:extLst>
          </p:cNvPr>
          <p:cNvSpPr>
            <a:spLocks noGrp="1"/>
          </p:cNvSpPr>
          <p:nvPr>
            <p:ph type="body" sz="quarter" idx="14" hasCustomPrompt="1"/>
          </p:nvPr>
        </p:nvSpPr>
        <p:spPr>
          <a:xfrm>
            <a:off x="461169" y="678254"/>
            <a:ext cx="11269663" cy="684381"/>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2800" b="0" i="0" u="none" strike="noStrike" cap="none" spc="0" normalizeH="0" baseline="0" dirty="0" smtClean="0">
                <a:ln>
                  <a:noFill/>
                </a:ln>
                <a:solidFill>
                  <a:srgbClr val="000000"/>
                </a:solidFill>
                <a:effectLst/>
                <a:uFillTx/>
                <a:latin typeface="Playfair Display"/>
                <a:ea typeface="Playfair Display"/>
                <a:cs typeface="Playfair Display"/>
                <a:sym typeface="Helvetica Neue"/>
              </a:defRPr>
            </a:lvl1pPr>
          </a:lstStyle>
          <a:p>
            <a:pPr marL="0" marR="0" lvl="0" indent="0" algn="l" defTabSz="412750" rtl="0" eaLnBrk="1" fontAlgn="auto" latinLnBrk="0" hangingPunct="0">
              <a:lnSpc>
                <a:spcPct val="80000"/>
              </a:lnSpc>
              <a:spcBef>
                <a:spcPts val="0"/>
              </a:spcBef>
              <a:spcAft>
                <a:spcPts val="0"/>
              </a:spcAft>
              <a:buClrTx/>
              <a:buSzTx/>
              <a:buFontTx/>
              <a:buNone/>
              <a:tabLst/>
              <a:defRPr/>
            </a:pPr>
            <a:r>
              <a:rPr lang="en-US"/>
              <a:t>Title goes</a:t>
            </a:r>
          </a:p>
        </p:txBody>
      </p:sp>
      <p:pic>
        <p:nvPicPr>
          <p:cNvPr id="4" name="Picture 3" descr="A logo with red and blue colors&#10;&#10;Description automatically generated">
            <a:extLst>
              <a:ext uri="{FF2B5EF4-FFF2-40B4-BE49-F238E27FC236}">
                <a16:creationId xmlns:a16="http://schemas.microsoft.com/office/drawing/2014/main" id="{6D2464FE-0513-D7A1-FAF5-F8A889D1FCD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98369" y="6179746"/>
            <a:ext cx="599143" cy="599143"/>
          </a:xfrm>
          <a:prstGeom prst="ellipse">
            <a:avLst/>
          </a:prstGeom>
        </p:spPr>
      </p:pic>
    </p:spTree>
    <p:extLst>
      <p:ext uri="{BB962C8B-B14F-4D97-AF65-F5344CB8AC3E}">
        <p14:creationId xmlns:p14="http://schemas.microsoft.com/office/powerpoint/2010/main" val="3750836285"/>
      </p:ext>
    </p:extLst>
  </p:cSld>
  <p:clrMapOvr>
    <a:masterClrMapping/>
  </p:clrMapOvr>
  <p:transition spd="med"/>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ntent 13">
    <p:spTree>
      <p:nvGrpSpPr>
        <p:cNvPr id="1" name=""/>
        <p:cNvGrpSpPr/>
        <p:nvPr/>
      </p:nvGrpSpPr>
      <p:grpSpPr>
        <a:xfrm>
          <a:off x="0" y="0"/>
          <a:ext cx="0" cy="0"/>
          <a:chOff x="0" y="0"/>
          <a:chExt cx="0" cy="0"/>
        </a:xfrm>
      </p:grpSpPr>
      <p:sp>
        <p:nvSpPr>
          <p:cNvPr id="9" name="Text Placeholder 2"/>
          <p:cNvSpPr>
            <a:spLocks noGrp="1"/>
          </p:cNvSpPr>
          <p:nvPr>
            <p:ph type="body" sz="quarter" idx="14" hasCustomPrompt="1"/>
          </p:nvPr>
        </p:nvSpPr>
        <p:spPr>
          <a:xfrm>
            <a:off x="461169" y="678255"/>
            <a:ext cx="11269663" cy="406472"/>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2800" b="0" i="0" u="none" strike="noStrike" cap="none" spc="0" normalizeH="0" baseline="0" dirty="0" smtClean="0">
                <a:ln>
                  <a:noFill/>
                </a:ln>
                <a:solidFill>
                  <a:srgbClr val="000000"/>
                </a:solidFill>
                <a:effectLst/>
                <a:uFillTx/>
                <a:latin typeface="Playfair Display"/>
                <a:ea typeface="Playfair Display"/>
                <a:cs typeface="Playfair Display"/>
                <a:sym typeface="Helvetica Neue"/>
              </a:defRPr>
            </a:lvl1pPr>
          </a:lstStyle>
          <a:p>
            <a:pPr marL="0" marR="0" lvl="0" indent="0" algn="l" defTabSz="412750" rtl="0" eaLnBrk="1" fontAlgn="auto" latinLnBrk="0" hangingPunct="0">
              <a:lnSpc>
                <a:spcPct val="80000"/>
              </a:lnSpc>
              <a:spcBef>
                <a:spcPts val="0"/>
              </a:spcBef>
              <a:spcAft>
                <a:spcPts val="0"/>
              </a:spcAft>
              <a:buClrTx/>
              <a:buSzTx/>
              <a:buFontTx/>
              <a:buNone/>
              <a:tabLst/>
              <a:defRPr/>
            </a:pPr>
            <a:r>
              <a:rPr lang="en-US"/>
              <a:t>Title goes</a:t>
            </a:r>
          </a:p>
        </p:txBody>
      </p:sp>
      <p:sp>
        <p:nvSpPr>
          <p:cNvPr id="18" name="Rectangle 17"/>
          <p:cNvSpPr/>
          <p:nvPr userDrawn="1"/>
        </p:nvSpPr>
        <p:spPr>
          <a:xfrm>
            <a:off x="0" y="5886794"/>
            <a:ext cx="12192000" cy="246221"/>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GB" sz="1600" b="0" i="0" u="none" strike="noStrike" cap="none" spc="0" normalizeH="0" baseline="0">
              <a:ln>
                <a:noFill/>
              </a:ln>
              <a:solidFill>
                <a:srgbClr val="FFFFFF"/>
              </a:solidFill>
              <a:effectLst/>
              <a:uFillTx/>
              <a:latin typeface="+mn-lt"/>
              <a:ea typeface="+mn-ea"/>
              <a:cs typeface="+mn-cs"/>
              <a:sym typeface="Helvetica Neue Medium"/>
            </a:endParaRPr>
          </a:p>
        </p:txBody>
      </p:sp>
      <p:pic>
        <p:nvPicPr>
          <p:cNvPr id="19" name="Image" descr="Image"/>
          <p:cNvPicPr>
            <a:picLocks noChangeAspect="1"/>
          </p:cNvPicPr>
          <p:nvPr userDrawn="1"/>
        </p:nvPicPr>
        <p:blipFill>
          <a:blip r:embed="rId2"/>
          <a:stretch>
            <a:fillRect/>
          </a:stretch>
        </p:blipFill>
        <p:spPr>
          <a:xfrm>
            <a:off x="311340" y="6313916"/>
            <a:ext cx="1709282" cy="285276"/>
          </a:xfrm>
          <a:prstGeom prst="rect">
            <a:avLst/>
          </a:prstGeom>
          <a:ln w="12700">
            <a:miter lim="400000"/>
          </a:ln>
        </p:spPr>
      </p:pic>
      <p:sp>
        <p:nvSpPr>
          <p:cNvPr id="2" name="Text Placeholder 21">
            <a:extLst>
              <a:ext uri="{FF2B5EF4-FFF2-40B4-BE49-F238E27FC236}">
                <a16:creationId xmlns:a16="http://schemas.microsoft.com/office/drawing/2014/main" id="{821692A0-AFD1-F4F8-6D96-45F8EE8A0A02}"/>
              </a:ext>
            </a:extLst>
          </p:cNvPr>
          <p:cNvSpPr txBox="1">
            <a:spLocks/>
          </p:cNvSpPr>
          <p:nvPr userDrawn="1"/>
        </p:nvSpPr>
        <p:spPr>
          <a:xfrm>
            <a:off x="461169" y="364775"/>
            <a:ext cx="5415090" cy="221919"/>
          </a:xfrm>
          <a:prstGeom prst="rect">
            <a:avLst/>
          </a:prstGeom>
        </p:spPr>
        <p:txBody>
          <a:bodyPr/>
          <a:lstStyle>
            <a:lvl1pPr marL="0" marR="0" indent="0" algn="l" defTabSz="412750" latinLnBrk="0">
              <a:lnSpc>
                <a:spcPct val="100000"/>
              </a:lnSpc>
              <a:spcBef>
                <a:spcPts val="2950"/>
              </a:spcBef>
              <a:spcAft>
                <a:spcPts val="0"/>
              </a:spcAft>
              <a:buClrTx/>
              <a:buSzPct val="125000"/>
              <a:buFontTx/>
              <a:buNone/>
              <a:tabLst/>
              <a:defRPr sz="1000" b="0" i="0" u="none" strike="noStrike" cap="all" spc="0" baseline="0">
                <a:ln>
                  <a:noFill/>
                </a:ln>
                <a:solidFill>
                  <a:srgbClr val="000000"/>
                </a:solidFill>
                <a:uFillTx/>
                <a:latin typeface="Open Sans "/>
                <a:ea typeface="Open Sans Light" panose="020B0306030504020204" pitchFamily="34" charset="0"/>
                <a:cs typeface="Open Sans Light" panose="020B0306030504020204" pitchFamily="34" charset="0"/>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r>
              <a:rPr lang="en-US" kern="0" err="1"/>
              <a:t>Bloodcell</a:t>
            </a:r>
            <a:r>
              <a:rPr lang="en-US" kern="0"/>
              <a:t> ai | 17.05.2024</a:t>
            </a:r>
            <a:endParaRPr lang="en-GB" kern="0"/>
          </a:p>
        </p:txBody>
      </p:sp>
      <p:sp>
        <p:nvSpPr>
          <p:cNvPr id="3" name="Text Placeholder 2">
            <a:extLst>
              <a:ext uri="{FF2B5EF4-FFF2-40B4-BE49-F238E27FC236}">
                <a16:creationId xmlns:a16="http://schemas.microsoft.com/office/drawing/2014/main" id="{5979658C-8C79-8456-F3A7-5EA570378CBA}"/>
              </a:ext>
            </a:extLst>
          </p:cNvPr>
          <p:cNvSpPr>
            <a:spLocks noGrp="1"/>
          </p:cNvSpPr>
          <p:nvPr>
            <p:ph type="body" sz="quarter" idx="15" hasCustomPrompt="1"/>
          </p:nvPr>
        </p:nvSpPr>
        <p:spPr>
          <a:xfrm>
            <a:off x="461169" y="1158059"/>
            <a:ext cx="11269663" cy="246221"/>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stStyle>
          <a:p>
            <a:pPr marL="0" marR="0" lvl="0" indent="0" algn="l" defTabSz="412750" rtl="0" eaLnBrk="1" fontAlgn="auto" latinLnBrk="0" hangingPunct="0">
              <a:lnSpc>
                <a:spcPct val="80000"/>
              </a:lnSpc>
              <a:spcBef>
                <a:spcPts val="0"/>
              </a:spcBef>
              <a:spcAft>
                <a:spcPts val="0"/>
              </a:spcAft>
              <a:buClrTx/>
              <a:buSzTx/>
              <a:buFontTx/>
              <a:buNone/>
              <a:tabLst/>
              <a:defRPr/>
            </a:pPr>
            <a:r>
              <a:rPr lang="en-US"/>
              <a:t>Title goes</a:t>
            </a:r>
          </a:p>
        </p:txBody>
      </p:sp>
      <p:pic>
        <p:nvPicPr>
          <p:cNvPr id="4" name="Picture 3" descr="A logo with red and blue colors&#10;&#10;Description automatically generated">
            <a:extLst>
              <a:ext uri="{FF2B5EF4-FFF2-40B4-BE49-F238E27FC236}">
                <a16:creationId xmlns:a16="http://schemas.microsoft.com/office/drawing/2014/main" id="{F994C3B2-4831-B96D-517D-D3E7B28ECDB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98369" y="6179746"/>
            <a:ext cx="599143" cy="599143"/>
          </a:xfrm>
          <a:prstGeom prst="ellipse">
            <a:avLst/>
          </a:prstGeom>
        </p:spPr>
      </p:pic>
    </p:spTree>
    <p:extLst>
      <p:ext uri="{BB962C8B-B14F-4D97-AF65-F5344CB8AC3E}">
        <p14:creationId xmlns:p14="http://schemas.microsoft.com/office/powerpoint/2010/main" val="1218439316"/>
      </p:ext>
    </p:extLst>
  </p:cSld>
  <p:clrMapOvr>
    <a:masterClrMapping/>
  </p:clrMapOvr>
  <p:transition spd="med"/>
  <p:extLst>
    <p:ext uri="{DCECCB84-F9BA-43D5-87BE-67443E8EF086}">
      <p15:sldGuideLst xmlns:p15="http://schemas.microsoft.com/office/powerpoint/2012/main">
        <p15:guide id="1" orient="horz" pos="4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01">
    <p:spTree>
      <p:nvGrpSpPr>
        <p:cNvPr id="1" name=""/>
        <p:cNvGrpSpPr/>
        <p:nvPr/>
      </p:nvGrpSpPr>
      <p:grpSpPr>
        <a:xfrm>
          <a:off x="0" y="0"/>
          <a:ext cx="0" cy="0"/>
          <a:chOff x="0" y="0"/>
          <a:chExt cx="0" cy="0"/>
        </a:xfrm>
      </p:grpSpPr>
      <p:sp>
        <p:nvSpPr>
          <p:cNvPr id="9" name="Text Placeholder 2"/>
          <p:cNvSpPr>
            <a:spLocks noGrp="1"/>
          </p:cNvSpPr>
          <p:nvPr>
            <p:ph type="body" sz="quarter" idx="14" hasCustomPrompt="1"/>
          </p:nvPr>
        </p:nvSpPr>
        <p:spPr>
          <a:xfrm>
            <a:off x="311340" y="1349455"/>
            <a:ext cx="5415090" cy="540306"/>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4550" b="0" i="0" u="none" strike="noStrike" cap="none" spc="0" normalizeH="0" baseline="0" dirty="0" smtClean="0">
                <a:ln>
                  <a:noFill/>
                </a:ln>
                <a:solidFill>
                  <a:srgbClr val="000000"/>
                </a:solidFill>
                <a:effectLst/>
                <a:uFillTx/>
                <a:latin typeface="Playfair Display"/>
                <a:ea typeface="Playfair Display"/>
                <a:cs typeface="Playfair Display"/>
                <a:sym typeface="Helvetica Neue"/>
              </a:defRPr>
            </a:lvl1pPr>
          </a:lstStyle>
          <a:p>
            <a:pPr lvl="0"/>
            <a:r>
              <a:rPr lang="en-US"/>
              <a:t>Title goes here</a:t>
            </a:r>
          </a:p>
        </p:txBody>
      </p:sp>
      <p:sp>
        <p:nvSpPr>
          <p:cNvPr id="10" name="Text Placeholder 2"/>
          <p:cNvSpPr>
            <a:spLocks noGrp="1"/>
          </p:cNvSpPr>
          <p:nvPr>
            <p:ph type="body" sz="quarter" idx="15" hasCustomPrompt="1"/>
          </p:nvPr>
        </p:nvSpPr>
        <p:spPr>
          <a:xfrm>
            <a:off x="311340" y="2099192"/>
            <a:ext cx="5415090" cy="198239"/>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all" spc="0" normalizeH="0" baseline="0" dirty="0" smtClean="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Helvetica Neue"/>
              </a:defRPr>
            </a:lvl1pPr>
          </a:lstStyle>
          <a:p>
            <a:pPr lvl="0"/>
            <a:r>
              <a:rPr lang="en-US"/>
              <a:t>SUBTITLE GOES HERE</a:t>
            </a:r>
          </a:p>
        </p:txBody>
      </p:sp>
      <p:sp>
        <p:nvSpPr>
          <p:cNvPr id="11" name="Text Placeholder 2"/>
          <p:cNvSpPr>
            <a:spLocks noGrp="1"/>
          </p:cNvSpPr>
          <p:nvPr>
            <p:ph type="body" sz="quarter" idx="16" hasCustomPrompt="1"/>
          </p:nvPr>
        </p:nvSpPr>
        <p:spPr>
          <a:xfrm>
            <a:off x="337654" y="3215997"/>
            <a:ext cx="5415090" cy="2396218"/>
          </a:xfrm>
          <a:prstGeom prst="rect">
            <a:avLst/>
          </a:prstGeom>
        </p:spPr>
        <p:txBody>
          <a:bodyPr/>
          <a:lstStyle>
            <a:lvl1pPr marL="0" marR="0" indent="0" algn="l" defTabSz="412750" rtl="0" fontAlgn="auto" latinLnBrk="0" hangingPunct="0">
              <a:lnSpc>
                <a:spcPct val="100000"/>
              </a:lnSpc>
              <a:spcBef>
                <a:spcPts val="0"/>
              </a:spcBef>
              <a:spcAft>
                <a:spcPts val="600"/>
              </a:spcAft>
              <a:buClrTx/>
              <a:buSzTx/>
              <a:buFontTx/>
              <a:buNone/>
              <a:tabLst/>
              <a:defRPr kumimoji="0" lang="en-US" sz="1200" b="0" i="0" u="none" strike="noStrike" cap="none" spc="0" normalizeH="0" baseline="0" dirty="0" smtClean="0">
                <a:ln>
                  <a:noFill/>
                </a:ln>
                <a:solidFill>
                  <a:srgbClr val="000000"/>
                </a:solidFill>
                <a:effectLst/>
                <a:uFillTx/>
                <a:latin typeface="Open Sans "/>
                <a:ea typeface="Open Sans Light" panose="020B0306030504020204" pitchFamily="34" charset="0"/>
                <a:cs typeface="Open Sans Light" panose="020B0306030504020204" pitchFamily="34" charset="0"/>
                <a:sym typeface="Helvetica Neue"/>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a:t>
            </a:r>
            <a:r>
              <a:rPr lang="en-US" err="1"/>
              <a:t>dolore</a:t>
            </a:r>
            <a:r>
              <a:rPr lang="en-US"/>
              <a:t>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a:p>
            <a:pPr lvl="0"/>
            <a:r>
              <a:rPr lang="en-US" err="1"/>
              <a:t>Sed</a:t>
            </a:r>
            <a:r>
              <a:rPr lang="en-US"/>
              <a:t>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quae ab </a:t>
            </a:r>
            <a:r>
              <a:rPr lang="en-US" err="1"/>
              <a:t>illo</a:t>
            </a:r>
            <a:r>
              <a:rPr lang="en-US"/>
              <a:t> </a:t>
            </a:r>
            <a:r>
              <a:rPr lang="en-US" err="1"/>
              <a:t>inventore</a:t>
            </a:r>
            <a:r>
              <a:rPr lang="en-US"/>
              <a:t> </a:t>
            </a:r>
            <a:r>
              <a:rPr lang="en-US" err="1"/>
              <a:t>veritatis</a:t>
            </a:r>
            <a:r>
              <a:rPr lang="en-US"/>
              <a:t> et quasi </a:t>
            </a:r>
            <a:r>
              <a:rPr lang="en-US" err="1"/>
              <a:t>architecto</a:t>
            </a:r>
            <a:r>
              <a:rPr lang="en-US"/>
              <a:t> </a:t>
            </a:r>
            <a:r>
              <a:rPr lang="en-US" err="1"/>
              <a:t>beatae</a:t>
            </a:r>
            <a:r>
              <a:rPr lang="en-US"/>
              <a:t> vitae dicta </a:t>
            </a:r>
            <a:r>
              <a:rPr lang="en-US" err="1"/>
              <a:t>sunt</a:t>
            </a:r>
            <a:r>
              <a:rPr lang="en-US"/>
              <a:t> </a:t>
            </a:r>
            <a:r>
              <a:rPr lang="en-US" err="1"/>
              <a:t>explicabo</a:t>
            </a:r>
            <a:r>
              <a:rPr lang="en-US"/>
              <a:t>. Nemo </a:t>
            </a:r>
            <a:r>
              <a:rPr lang="en-US" err="1"/>
              <a:t>enim</a:t>
            </a:r>
            <a:r>
              <a:rPr lang="en-US"/>
              <a:t> </a:t>
            </a:r>
            <a:r>
              <a:rPr lang="en-US" err="1"/>
              <a:t>ipsam</a:t>
            </a:r>
            <a:r>
              <a:rPr lang="en-US"/>
              <a:t> </a:t>
            </a:r>
            <a:r>
              <a:rPr lang="en-US" err="1"/>
              <a:t>voluptatem</a:t>
            </a:r>
            <a:r>
              <a:rPr lang="en-US"/>
              <a:t> </a:t>
            </a:r>
            <a:r>
              <a:rPr lang="en-US" err="1"/>
              <a:t>quia</a:t>
            </a:r>
            <a:r>
              <a:rPr lang="en-US"/>
              <a:t> </a:t>
            </a:r>
            <a:r>
              <a:rPr lang="en-US" err="1"/>
              <a:t>voluptas</a:t>
            </a:r>
            <a:r>
              <a:rPr lang="en-US"/>
              <a:t> sit </a:t>
            </a:r>
            <a:r>
              <a:rPr lang="en-US" err="1"/>
              <a:t>aspernatur</a:t>
            </a:r>
            <a:endParaRPr lang="en-US"/>
          </a:p>
        </p:txBody>
      </p:sp>
      <p:sp>
        <p:nvSpPr>
          <p:cNvPr id="12" name="Text Placeholder 2"/>
          <p:cNvSpPr>
            <a:spLocks noGrp="1"/>
          </p:cNvSpPr>
          <p:nvPr>
            <p:ph type="body" sz="quarter" idx="17" hasCustomPrompt="1"/>
          </p:nvPr>
        </p:nvSpPr>
        <p:spPr>
          <a:xfrm>
            <a:off x="6288874" y="3215997"/>
            <a:ext cx="5415090" cy="2396218"/>
          </a:xfrm>
          <a:prstGeom prst="rect">
            <a:avLst/>
          </a:prstGeom>
        </p:spPr>
        <p:txBody>
          <a:bodyPr/>
          <a:lstStyle>
            <a:lvl1pPr marL="0" marR="0" indent="0" algn="l" defTabSz="412750" rtl="0" fontAlgn="auto" latinLnBrk="0" hangingPunct="0">
              <a:lnSpc>
                <a:spcPct val="100000"/>
              </a:lnSpc>
              <a:spcBef>
                <a:spcPts val="0"/>
              </a:spcBef>
              <a:spcAft>
                <a:spcPts val="600"/>
              </a:spcAft>
              <a:buClrTx/>
              <a:buSzTx/>
              <a:buFontTx/>
              <a:buNone/>
              <a:tabLst/>
              <a:defRPr kumimoji="0" lang="en-US" sz="1200" b="0" i="0" u="none" strike="noStrike" cap="none" spc="0" normalizeH="0" baseline="0" dirty="0" smtClean="0">
                <a:ln>
                  <a:noFill/>
                </a:ln>
                <a:solidFill>
                  <a:srgbClr val="000000"/>
                </a:solidFill>
                <a:effectLst/>
                <a:uFillTx/>
                <a:latin typeface="Open Sans "/>
                <a:ea typeface="Open Sans Light" panose="020B0306030504020204" pitchFamily="34" charset="0"/>
                <a:cs typeface="Open Sans Light" panose="020B0306030504020204" pitchFamily="34" charset="0"/>
                <a:sym typeface="Helvetica Neue"/>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a:t>
            </a:r>
            <a:r>
              <a:rPr lang="en-US" err="1"/>
              <a:t>dolore</a:t>
            </a:r>
            <a:r>
              <a:rPr lang="en-US"/>
              <a:t>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a:p>
            <a:pPr lvl="0"/>
            <a:r>
              <a:rPr lang="en-US" err="1"/>
              <a:t>Sed</a:t>
            </a:r>
            <a:r>
              <a:rPr lang="en-US"/>
              <a:t>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quae ab </a:t>
            </a:r>
            <a:r>
              <a:rPr lang="en-US" err="1"/>
              <a:t>illo</a:t>
            </a:r>
            <a:r>
              <a:rPr lang="en-US"/>
              <a:t> </a:t>
            </a:r>
            <a:r>
              <a:rPr lang="en-US" err="1"/>
              <a:t>inventore</a:t>
            </a:r>
            <a:r>
              <a:rPr lang="en-US"/>
              <a:t> </a:t>
            </a:r>
            <a:r>
              <a:rPr lang="en-US" err="1"/>
              <a:t>veritatis</a:t>
            </a:r>
            <a:r>
              <a:rPr lang="en-US"/>
              <a:t> et quasi </a:t>
            </a:r>
            <a:r>
              <a:rPr lang="en-US" err="1"/>
              <a:t>architecto</a:t>
            </a:r>
            <a:r>
              <a:rPr lang="en-US"/>
              <a:t> </a:t>
            </a:r>
            <a:r>
              <a:rPr lang="en-US" err="1"/>
              <a:t>beatae</a:t>
            </a:r>
            <a:r>
              <a:rPr lang="en-US"/>
              <a:t> vitae dicta </a:t>
            </a:r>
            <a:r>
              <a:rPr lang="en-US" err="1"/>
              <a:t>sunt</a:t>
            </a:r>
            <a:r>
              <a:rPr lang="en-US"/>
              <a:t> </a:t>
            </a:r>
            <a:r>
              <a:rPr lang="en-US" err="1"/>
              <a:t>explicabo</a:t>
            </a:r>
            <a:r>
              <a:rPr lang="en-US"/>
              <a:t>. Nemo </a:t>
            </a:r>
            <a:r>
              <a:rPr lang="en-US" err="1"/>
              <a:t>enim</a:t>
            </a:r>
            <a:r>
              <a:rPr lang="en-US"/>
              <a:t> </a:t>
            </a:r>
            <a:r>
              <a:rPr lang="en-US" err="1"/>
              <a:t>ipsam</a:t>
            </a:r>
            <a:r>
              <a:rPr lang="en-US"/>
              <a:t> </a:t>
            </a:r>
            <a:r>
              <a:rPr lang="en-US" err="1"/>
              <a:t>voluptatem</a:t>
            </a:r>
            <a:r>
              <a:rPr lang="en-US"/>
              <a:t> </a:t>
            </a:r>
            <a:r>
              <a:rPr lang="en-US" err="1"/>
              <a:t>quia</a:t>
            </a:r>
            <a:r>
              <a:rPr lang="en-US"/>
              <a:t> </a:t>
            </a:r>
            <a:r>
              <a:rPr lang="en-US" err="1"/>
              <a:t>voluptas</a:t>
            </a:r>
            <a:r>
              <a:rPr lang="en-US"/>
              <a:t> sit </a:t>
            </a:r>
            <a:r>
              <a:rPr lang="en-US" err="1"/>
              <a:t>aspernatur</a:t>
            </a:r>
            <a:endParaRPr lang="en-US"/>
          </a:p>
        </p:txBody>
      </p:sp>
      <p:sp>
        <p:nvSpPr>
          <p:cNvPr id="13" name="Rectangle 12"/>
          <p:cNvSpPr/>
          <p:nvPr userDrawn="1"/>
        </p:nvSpPr>
        <p:spPr>
          <a:xfrm>
            <a:off x="0" y="5886794"/>
            <a:ext cx="12192000" cy="246221"/>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GB" sz="1600" b="0" i="0" u="none" strike="noStrike" cap="none" spc="0" normalizeH="0" baseline="0">
              <a:ln>
                <a:noFill/>
              </a:ln>
              <a:solidFill>
                <a:srgbClr val="FFFFFF"/>
              </a:solidFill>
              <a:effectLst/>
              <a:uFillTx/>
              <a:latin typeface="+mn-lt"/>
              <a:ea typeface="+mn-ea"/>
              <a:cs typeface="+mn-cs"/>
              <a:sym typeface="Helvetica Neue Medium"/>
            </a:endParaRPr>
          </a:p>
        </p:txBody>
      </p:sp>
      <p:pic>
        <p:nvPicPr>
          <p:cNvPr id="14" name="Image" descr="Image"/>
          <p:cNvPicPr>
            <a:picLocks noChangeAspect="1"/>
          </p:cNvPicPr>
          <p:nvPr userDrawn="1"/>
        </p:nvPicPr>
        <p:blipFill>
          <a:blip r:embed="rId2"/>
          <a:stretch>
            <a:fillRect/>
          </a:stretch>
        </p:blipFill>
        <p:spPr>
          <a:xfrm>
            <a:off x="311340" y="6313916"/>
            <a:ext cx="1709282" cy="285276"/>
          </a:xfrm>
          <a:prstGeom prst="rect">
            <a:avLst/>
          </a:prstGeom>
          <a:ln w="12700">
            <a:miter lim="400000"/>
          </a:ln>
        </p:spPr>
      </p:pic>
      <p:pic>
        <p:nvPicPr>
          <p:cNvPr id="2" name="Picture 1" descr="A logo with red and blue colors&#10;&#10;Description automatically generated">
            <a:extLst>
              <a:ext uri="{FF2B5EF4-FFF2-40B4-BE49-F238E27FC236}">
                <a16:creationId xmlns:a16="http://schemas.microsoft.com/office/drawing/2014/main" id="{83A6CBF8-D113-29E8-6916-31261115588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98369" y="6179746"/>
            <a:ext cx="599143" cy="599143"/>
          </a:xfrm>
          <a:prstGeom prst="ellipse">
            <a:avLst/>
          </a:prstGeom>
        </p:spPr>
      </p:pic>
    </p:spTree>
    <p:extLst>
      <p:ext uri="{BB962C8B-B14F-4D97-AF65-F5344CB8AC3E}">
        <p14:creationId xmlns:p14="http://schemas.microsoft.com/office/powerpoint/2010/main" val="3242066465"/>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05">
    <p:spTree>
      <p:nvGrpSpPr>
        <p:cNvPr id="1" name=""/>
        <p:cNvGrpSpPr/>
        <p:nvPr/>
      </p:nvGrpSpPr>
      <p:grpSpPr>
        <a:xfrm>
          <a:off x="0" y="0"/>
          <a:ext cx="0" cy="0"/>
          <a:chOff x="0" y="0"/>
          <a:chExt cx="0" cy="0"/>
        </a:xfrm>
      </p:grpSpPr>
      <p:sp>
        <p:nvSpPr>
          <p:cNvPr id="9" name="Text Placeholder 2"/>
          <p:cNvSpPr>
            <a:spLocks noGrp="1"/>
          </p:cNvSpPr>
          <p:nvPr>
            <p:ph type="body" sz="quarter" idx="14" hasCustomPrompt="1"/>
          </p:nvPr>
        </p:nvSpPr>
        <p:spPr>
          <a:xfrm>
            <a:off x="311340" y="1349455"/>
            <a:ext cx="5415090" cy="540306"/>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4550" b="0" i="0" u="none" strike="noStrike" cap="none" spc="0" normalizeH="0" baseline="0" dirty="0" smtClean="0">
                <a:ln>
                  <a:noFill/>
                </a:ln>
                <a:solidFill>
                  <a:srgbClr val="000000"/>
                </a:solidFill>
                <a:effectLst/>
                <a:uFillTx/>
                <a:latin typeface="Playfair Display"/>
                <a:ea typeface="Playfair Display"/>
                <a:cs typeface="Playfair Display"/>
                <a:sym typeface="Helvetica Neue"/>
              </a:defRPr>
            </a:lvl1pPr>
          </a:lstStyle>
          <a:p>
            <a:pPr lvl="0"/>
            <a:r>
              <a:rPr lang="en-US"/>
              <a:t>Title goes here</a:t>
            </a:r>
          </a:p>
        </p:txBody>
      </p:sp>
      <p:sp>
        <p:nvSpPr>
          <p:cNvPr id="10" name="Text Placeholder 2"/>
          <p:cNvSpPr>
            <a:spLocks noGrp="1"/>
          </p:cNvSpPr>
          <p:nvPr>
            <p:ph type="body" sz="quarter" idx="15" hasCustomPrompt="1"/>
          </p:nvPr>
        </p:nvSpPr>
        <p:spPr>
          <a:xfrm>
            <a:off x="311340" y="2099192"/>
            <a:ext cx="5415090" cy="198239"/>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all" spc="0" normalizeH="0" baseline="0" dirty="0" smtClean="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Helvetica Neue"/>
              </a:defRPr>
            </a:lvl1pPr>
          </a:lstStyle>
          <a:p>
            <a:pPr lvl="0"/>
            <a:r>
              <a:rPr lang="en-US"/>
              <a:t>SUBTITLE GOES HERE</a:t>
            </a:r>
          </a:p>
        </p:txBody>
      </p:sp>
      <p:sp>
        <p:nvSpPr>
          <p:cNvPr id="11" name="Text Placeholder 2"/>
          <p:cNvSpPr>
            <a:spLocks noGrp="1"/>
          </p:cNvSpPr>
          <p:nvPr>
            <p:ph type="body" sz="quarter" idx="16" hasCustomPrompt="1"/>
          </p:nvPr>
        </p:nvSpPr>
        <p:spPr>
          <a:xfrm>
            <a:off x="337654" y="3215997"/>
            <a:ext cx="5415090" cy="2396218"/>
          </a:xfrm>
          <a:prstGeom prst="rect">
            <a:avLst/>
          </a:prstGeom>
        </p:spPr>
        <p:txBody>
          <a:bodyPr/>
          <a:lstStyle>
            <a:lvl1pPr marL="0" marR="0" indent="0" algn="l" defTabSz="412750" rtl="0" fontAlgn="auto" latinLnBrk="0" hangingPunct="0">
              <a:lnSpc>
                <a:spcPct val="100000"/>
              </a:lnSpc>
              <a:spcBef>
                <a:spcPts val="0"/>
              </a:spcBef>
              <a:spcAft>
                <a:spcPts val="600"/>
              </a:spcAft>
              <a:buClrTx/>
              <a:buSzTx/>
              <a:buFontTx/>
              <a:buNone/>
              <a:tabLst/>
              <a:defRPr kumimoji="0" lang="en-US" sz="1200" b="0" i="0" u="none" strike="noStrike" cap="none" spc="0" normalizeH="0" baseline="0" dirty="0" smtClean="0">
                <a:ln>
                  <a:noFill/>
                </a:ln>
                <a:solidFill>
                  <a:srgbClr val="000000"/>
                </a:solidFill>
                <a:effectLst/>
                <a:uFillTx/>
                <a:latin typeface="Open Sans "/>
                <a:ea typeface="Open Sans Light" panose="020B0306030504020204" pitchFamily="34" charset="0"/>
                <a:cs typeface="Open Sans Light" panose="020B0306030504020204" pitchFamily="34" charset="0"/>
                <a:sym typeface="Helvetica Neue"/>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a:t>
            </a:r>
            <a:r>
              <a:rPr lang="en-US" err="1"/>
              <a:t>dolore</a:t>
            </a:r>
            <a:r>
              <a:rPr lang="en-US"/>
              <a:t>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a:p>
            <a:pPr lvl="0"/>
            <a:r>
              <a:rPr lang="en-US" err="1"/>
              <a:t>Sed</a:t>
            </a:r>
            <a:r>
              <a:rPr lang="en-US"/>
              <a:t>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quae ab </a:t>
            </a:r>
            <a:r>
              <a:rPr lang="en-US" err="1"/>
              <a:t>illo</a:t>
            </a:r>
            <a:r>
              <a:rPr lang="en-US"/>
              <a:t> </a:t>
            </a:r>
            <a:r>
              <a:rPr lang="en-US" err="1"/>
              <a:t>inventore</a:t>
            </a:r>
            <a:r>
              <a:rPr lang="en-US"/>
              <a:t> </a:t>
            </a:r>
            <a:r>
              <a:rPr lang="en-US" err="1"/>
              <a:t>veritatis</a:t>
            </a:r>
            <a:r>
              <a:rPr lang="en-US"/>
              <a:t> et quasi </a:t>
            </a:r>
            <a:r>
              <a:rPr lang="en-US" err="1"/>
              <a:t>architecto</a:t>
            </a:r>
            <a:r>
              <a:rPr lang="en-US"/>
              <a:t> </a:t>
            </a:r>
            <a:r>
              <a:rPr lang="en-US" err="1"/>
              <a:t>beatae</a:t>
            </a:r>
            <a:r>
              <a:rPr lang="en-US"/>
              <a:t> vitae dicta </a:t>
            </a:r>
            <a:r>
              <a:rPr lang="en-US" err="1"/>
              <a:t>sunt</a:t>
            </a:r>
            <a:r>
              <a:rPr lang="en-US"/>
              <a:t> </a:t>
            </a:r>
            <a:r>
              <a:rPr lang="en-US" err="1"/>
              <a:t>explicabo</a:t>
            </a:r>
            <a:r>
              <a:rPr lang="en-US"/>
              <a:t>. Nemo </a:t>
            </a:r>
            <a:r>
              <a:rPr lang="en-US" err="1"/>
              <a:t>enim</a:t>
            </a:r>
            <a:r>
              <a:rPr lang="en-US"/>
              <a:t> </a:t>
            </a:r>
            <a:r>
              <a:rPr lang="en-US" err="1"/>
              <a:t>ipsam</a:t>
            </a:r>
            <a:r>
              <a:rPr lang="en-US"/>
              <a:t> </a:t>
            </a:r>
            <a:r>
              <a:rPr lang="en-US" err="1"/>
              <a:t>voluptatem</a:t>
            </a:r>
            <a:r>
              <a:rPr lang="en-US"/>
              <a:t> </a:t>
            </a:r>
            <a:r>
              <a:rPr lang="en-US" err="1"/>
              <a:t>quia</a:t>
            </a:r>
            <a:r>
              <a:rPr lang="en-US"/>
              <a:t> </a:t>
            </a:r>
            <a:r>
              <a:rPr lang="en-US" err="1"/>
              <a:t>voluptas</a:t>
            </a:r>
            <a:r>
              <a:rPr lang="en-US"/>
              <a:t> sit </a:t>
            </a:r>
            <a:r>
              <a:rPr lang="en-US" err="1"/>
              <a:t>aspernatur</a:t>
            </a:r>
            <a:endParaRPr lang="en-US"/>
          </a:p>
        </p:txBody>
      </p:sp>
      <p:sp>
        <p:nvSpPr>
          <p:cNvPr id="12" name="Rectangle 11"/>
          <p:cNvSpPr/>
          <p:nvPr userDrawn="1"/>
        </p:nvSpPr>
        <p:spPr>
          <a:xfrm>
            <a:off x="0" y="5886794"/>
            <a:ext cx="12192000" cy="246221"/>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GB" sz="1600" b="0" i="0" u="none" strike="noStrike" cap="none" spc="0" normalizeH="0" baseline="0">
              <a:ln>
                <a:noFill/>
              </a:ln>
              <a:solidFill>
                <a:srgbClr val="FFFFFF"/>
              </a:solidFill>
              <a:effectLst/>
              <a:uFillTx/>
              <a:latin typeface="+mn-lt"/>
              <a:ea typeface="+mn-ea"/>
              <a:cs typeface="+mn-cs"/>
              <a:sym typeface="Helvetica Neue Medium"/>
            </a:endParaRPr>
          </a:p>
        </p:txBody>
      </p:sp>
      <p:pic>
        <p:nvPicPr>
          <p:cNvPr id="13" name="Image" descr="Image"/>
          <p:cNvPicPr>
            <a:picLocks noChangeAspect="1"/>
          </p:cNvPicPr>
          <p:nvPr userDrawn="1"/>
        </p:nvPicPr>
        <p:blipFill>
          <a:blip r:embed="rId2"/>
          <a:stretch>
            <a:fillRect/>
          </a:stretch>
        </p:blipFill>
        <p:spPr>
          <a:xfrm>
            <a:off x="311340" y="6313916"/>
            <a:ext cx="1709282" cy="285276"/>
          </a:xfrm>
          <a:prstGeom prst="rect">
            <a:avLst/>
          </a:prstGeom>
          <a:ln w="12700">
            <a:miter lim="400000"/>
          </a:ln>
        </p:spPr>
      </p:pic>
      <p:sp>
        <p:nvSpPr>
          <p:cNvPr id="14" name="Picture Placeholder 2"/>
          <p:cNvSpPr>
            <a:spLocks noGrp="1"/>
          </p:cNvSpPr>
          <p:nvPr>
            <p:ph type="pic" sz="quarter" idx="18" hasCustomPrompt="1"/>
          </p:nvPr>
        </p:nvSpPr>
        <p:spPr>
          <a:xfrm>
            <a:off x="6195060" y="-3810"/>
            <a:ext cx="5996940" cy="5917807"/>
          </a:xfrm>
          <a:prstGeom prst="rect">
            <a:avLst/>
          </a:prstGeom>
          <a:blipFill>
            <a:blip r:embed="rId3"/>
            <a:stretch>
              <a:fillRect/>
            </a:stretch>
          </a:blipFill>
        </p:spPr>
        <p:txBody>
          <a:bodyPr anchor="ctr"/>
          <a:lstStyle>
            <a:lvl1pPr marL="0" indent="0" algn="ctr">
              <a:buNone/>
              <a:defRPr sz="1800" b="1" baseline="0">
                <a:solidFill>
                  <a:schemeClr val="bg1"/>
                </a:solidFill>
                <a:latin typeface="Open Sans "/>
                <a:ea typeface="Open Sans Light" panose="020B0306030504020204" pitchFamily="34" charset="0"/>
                <a:cs typeface="Open Sans Light" panose="020B0306030504020204" pitchFamily="34" charset="0"/>
              </a:defRPr>
            </a:lvl1pPr>
          </a:lstStyle>
          <a:p>
            <a:r>
              <a:rPr lang="en-GB"/>
              <a:t>Double click to add </a:t>
            </a:r>
            <a:br>
              <a:rPr lang="en-GB"/>
            </a:br>
            <a:r>
              <a:rPr lang="en-GB"/>
              <a:t>your picture here</a:t>
            </a:r>
          </a:p>
        </p:txBody>
      </p:sp>
      <p:pic>
        <p:nvPicPr>
          <p:cNvPr id="2" name="Picture 1" descr="A logo with red and blue colors&#10;&#10;Description automatically generated">
            <a:extLst>
              <a:ext uri="{FF2B5EF4-FFF2-40B4-BE49-F238E27FC236}">
                <a16:creationId xmlns:a16="http://schemas.microsoft.com/office/drawing/2014/main" id="{B3CFBE2D-C3F0-DD75-DD01-FFC44A00068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498369" y="6179746"/>
            <a:ext cx="599143" cy="599143"/>
          </a:xfrm>
          <a:prstGeom prst="ellipse">
            <a:avLst/>
          </a:prstGeom>
        </p:spPr>
      </p:pic>
    </p:spTree>
    <p:extLst>
      <p:ext uri="{BB962C8B-B14F-4D97-AF65-F5344CB8AC3E}">
        <p14:creationId xmlns:p14="http://schemas.microsoft.com/office/powerpoint/2010/main" val="1623443730"/>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567F1D-BFC9-7F46-7F7C-40F3C5494DCC}"/>
              </a:ext>
            </a:extLst>
          </p:cNvPr>
          <p:cNvGraphicFramePr>
            <a:graphicFrameLocks noChangeAspect="1"/>
          </p:cNvGraphicFramePr>
          <p:nvPr userDrawn="1">
            <p:custDataLst>
              <p:tags r:id="rId6"/>
            </p:custDataLst>
            <p:extLst>
              <p:ext uri="{D42A27DB-BD31-4B8C-83A1-F6EECF244321}">
                <p14:modId xmlns:p14="http://schemas.microsoft.com/office/powerpoint/2010/main" val="319922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26" imgH="426" progId="TCLayout.ActiveDocument.1">
                  <p:embed/>
                </p:oleObj>
              </mc:Choice>
              <mc:Fallback>
                <p:oleObj name="think-cell Folie" r:id="rId7" imgW="426" imgH="426" progId="TCLayout.ActiveDocument.1">
                  <p:embed/>
                  <p:pic>
                    <p:nvPicPr>
                      <p:cNvPr id="2" name="think-cell data - do not delete" hidden="1">
                        <a:extLst>
                          <a:ext uri="{FF2B5EF4-FFF2-40B4-BE49-F238E27FC236}">
                            <a16:creationId xmlns:a16="http://schemas.microsoft.com/office/drawing/2014/main" id="{7C567F1D-BFC9-7F46-7F7C-40F3C5494DC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249716214"/>
      </p:ext>
    </p:extLst>
  </p:cSld>
  <p:clrMap bg1="lt1" tx1="dk1" bg2="lt2" tx2="dk2" accent1="accent1" accent2="accent2" accent3="accent3" accent4="accent4" accent5="accent5" accent6="accent6" hlink="hlink" folHlink="folHlink"/>
  <p:sldLayoutIdLst>
    <p:sldLayoutId id="2147483662" r:id="rId1"/>
    <p:sldLayoutId id="2147483667" r:id="rId2"/>
    <p:sldLayoutId id="2147483663" r:id="rId3"/>
    <p:sldLayoutId id="2147483666" r:id="rId4"/>
  </p:sldLayoutIdLst>
  <p:transition spd="med"/>
  <p:txStyles>
    <p:titleStyle>
      <a:lvl1pPr marL="0" marR="0" indent="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1pPr>
      <a:lvl2pPr marL="0" marR="0" indent="1143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2pPr>
      <a:lvl3pPr marL="0" marR="0" indent="2286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3pPr>
      <a:lvl4pPr marL="0" marR="0" indent="3429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4pPr>
      <a:lvl5pPr marL="0" marR="0" indent="4572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5pPr>
      <a:lvl6pPr marL="0" marR="0" indent="5715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6pPr>
      <a:lvl7pPr marL="0" marR="0" indent="6858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7pPr>
      <a:lvl8pPr marL="0" marR="0" indent="8001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8pPr>
      <a:lvl9pPr marL="0" marR="0" indent="9144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9pPr>
    </p:titleStyle>
    <p:bodyStyle>
      <a:lvl1pPr marL="31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1143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2286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3429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4572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5715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6858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8001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9144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extLst>
    <p:ext uri="{27BBF7A9-308A-43DC-89C8-2F10F3537804}">
      <p15:sldGuideLst xmlns:p15="http://schemas.microsoft.com/office/powerpoint/2012/main">
        <p15:guide id="1" orient="horz" pos="7246">
          <p15:clr>
            <a:srgbClr val="F26B43"/>
          </p15:clr>
        </p15:guide>
        <p15:guide id="2" pos="279" userDrawn="1">
          <p15:clr>
            <a:srgbClr val="F26B43"/>
          </p15:clr>
        </p15:guide>
        <p15:guide id="3" orient="horz" pos="958" userDrawn="1">
          <p15:clr>
            <a:srgbClr val="F26B43"/>
          </p15:clr>
        </p15:guide>
        <p15:guide id="4" pos="14779">
          <p15:clr>
            <a:srgbClr val="F26B43"/>
          </p15:clr>
        </p15:guide>
        <p15:guide id="5" orient="horz" pos="3589" userDrawn="1">
          <p15:clr>
            <a:srgbClr val="F26B43"/>
          </p15:clr>
        </p15:guide>
        <p15:guide id="6" pos="740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6.jpe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5.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4.bin"/><Relationship Id="rId7"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5.pn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oleObject" Target="../embeddings/oleObject5.bin"/><Relationship Id="rId7" Type="http://schemas.openxmlformats.org/officeDocument/2006/relationships/image" Target="../media/image29.png"/><Relationship Id="rId12"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8.svg"/><Relationship Id="rId11" Type="http://schemas.openxmlformats.org/officeDocument/2006/relationships/image" Target="../media/image3.jpe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1.emf"/><Relationship Id="rId9"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34.svg"/><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svg"/><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diagramLayout" Target="../diagrams/layout7.xml"/><Relationship Id="rId7" Type="http://schemas.openxmlformats.org/officeDocument/2006/relationships/diagramData" Target="../diagrams/data8.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xml"/><Relationship Id="rId5" Type="http://schemas.openxmlformats.org/officeDocument/2006/relationships/image" Target="../media/image13.jpeg"/><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notesSlide" Target="../notesSlides/notesSlide1.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8.jpeg"/></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diagramLayout" Target="../diagrams/layout5.xml"/><Relationship Id="rId7" Type="http://schemas.openxmlformats.org/officeDocument/2006/relationships/diagramData" Target="../diagrams/data6.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FA328CD-9F5C-EF89-7BBA-1DE428A6672E}"/>
              </a:ext>
            </a:extLst>
          </p:cNvPr>
          <p:cNvGraphicFramePr>
            <a:graphicFrameLocks noChangeAspect="1"/>
          </p:cNvGraphicFramePr>
          <p:nvPr>
            <p:custDataLst>
              <p:tags r:id="rId1"/>
            </p:custDataLst>
            <p:extLst>
              <p:ext uri="{D42A27DB-BD31-4B8C-83A1-F6EECF244321}">
                <p14:modId xmlns:p14="http://schemas.microsoft.com/office/powerpoint/2010/main" val="2039742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6" imgH="426" progId="TCLayout.ActiveDocument.1">
                  <p:embed/>
                </p:oleObj>
              </mc:Choice>
              <mc:Fallback>
                <p:oleObj name="think-cell Folie" r:id="rId3" imgW="426" imgH="426" progId="TCLayout.ActiveDocument.1">
                  <p:embed/>
                  <p:pic>
                    <p:nvPicPr>
                      <p:cNvPr id="6" name="think-cell data - do not delete" hidden="1">
                        <a:extLst>
                          <a:ext uri="{FF2B5EF4-FFF2-40B4-BE49-F238E27FC236}">
                            <a16:creationId xmlns:a16="http://schemas.microsoft.com/office/drawing/2014/main" id="{6FA328CD-9F5C-EF89-7BBA-1DE428A667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bloodcell">
            <a:extLst>
              <a:ext uri="{FF2B5EF4-FFF2-40B4-BE49-F238E27FC236}">
                <a16:creationId xmlns:a16="http://schemas.microsoft.com/office/drawing/2014/main" id="{94FE8556-AA99-EEFD-2E3A-0906133CAD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2496" y="0"/>
            <a:ext cx="11769504" cy="5884752"/>
          </a:xfrm>
          <a:prstGeom prst="rect">
            <a:avLst/>
          </a:prstGeom>
          <a:gradFill flip="none" rotWithShape="1">
            <a:gsLst>
              <a:gs pos="0">
                <a:schemeClr val="bg1"/>
              </a:gs>
              <a:gs pos="100000">
                <a:schemeClr val="tx2"/>
              </a:gs>
            </a:gsLst>
            <a:lin ang="0" scaled="1"/>
            <a:tileRect/>
          </a:gradFill>
        </p:spPr>
      </p:pic>
      <p:sp>
        <p:nvSpPr>
          <p:cNvPr id="2" name="Rechteck 1">
            <a:extLst>
              <a:ext uri="{FF2B5EF4-FFF2-40B4-BE49-F238E27FC236}">
                <a16:creationId xmlns:a16="http://schemas.microsoft.com/office/drawing/2014/main" id="{5E8338A6-6DF9-FD23-982A-EC401F20B21F}"/>
              </a:ext>
            </a:extLst>
          </p:cNvPr>
          <p:cNvSpPr/>
          <p:nvPr/>
        </p:nvSpPr>
        <p:spPr>
          <a:xfrm>
            <a:off x="311340" y="0"/>
            <a:ext cx="11880660" cy="5884752"/>
          </a:xfrm>
          <a:prstGeom prst="rect">
            <a:avLst/>
          </a:prstGeom>
          <a:gradFill>
            <a:gsLst>
              <a:gs pos="45000">
                <a:schemeClr val="bg2"/>
              </a:gs>
              <a:gs pos="29000">
                <a:schemeClr val="bg1"/>
              </a:gs>
              <a:gs pos="100000">
                <a:schemeClr val="tx1">
                  <a:alpha val="43000"/>
                </a:schemeClr>
              </a:gs>
            </a:gsLst>
            <a:lin ang="0" scaled="1"/>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3" name="Textplatzhalter 2">
            <a:extLst>
              <a:ext uri="{FF2B5EF4-FFF2-40B4-BE49-F238E27FC236}">
                <a16:creationId xmlns:a16="http://schemas.microsoft.com/office/drawing/2014/main" id="{ED8E5DDE-5D4E-CDAE-6599-6967AAAF378D}"/>
              </a:ext>
            </a:extLst>
          </p:cNvPr>
          <p:cNvSpPr>
            <a:spLocks noGrp="1"/>
          </p:cNvSpPr>
          <p:nvPr>
            <p:ph type="body" sz="quarter" idx="14"/>
          </p:nvPr>
        </p:nvSpPr>
        <p:spPr>
          <a:xfrm>
            <a:off x="323831" y="1349455"/>
            <a:ext cx="5415090" cy="1046224"/>
          </a:xfrm>
        </p:spPr>
        <p:txBody>
          <a:bodyPr lIns="91440" tIns="45720" rIns="91440" bIns="45720" anchor="t"/>
          <a:lstStyle/>
          <a:p>
            <a:r>
              <a:rPr lang="en-GB" sz="2800" b="1"/>
              <a:t>Machine Learning</a:t>
            </a:r>
          </a:p>
          <a:p>
            <a:r>
              <a:rPr lang="en-GB" sz="2800" b="1"/>
              <a:t>Group Work – Assignment 2</a:t>
            </a:r>
          </a:p>
          <a:p>
            <a:endParaRPr lang="en-GB" sz="2800"/>
          </a:p>
          <a:p>
            <a:endParaRPr lang="en-GB" sz="2800"/>
          </a:p>
        </p:txBody>
      </p:sp>
      <p:sp>
        <p:nvSpPr>
          <p:cNvPr id="4" name="Textplatzhalter 3">
            <a:extLst>
              <a:ext uri="{FF2B5EF4-FFF2-40B4-BE49-F238E27FC236}">
                <a16:creationId xmlns:a16="http://schemas.microsoft.com/office/drawing/2014/main" id="{6C9FD9ED-BDC2-080D-7C01-5BD5C9EFD45C}"/>
              </a:ext>
            </a:extLst>
          </p:cNvPr>
          <p:cNvSpPr>
            <a:spLocks noGrp="1"/>
          </p:cNvSpPr>
          <p:nvPr>
            <p:ph type="body" sz="quarter" idx="15"/>
          </p:nvPr>
        </p:nvSpPr>
        <p:spPr>
          <a:xfrm>
            <a:off x="1521331" y="2629333"/>
            <a:ext cx="3119120" cy="716280"/>
          </a:xfrm>
        </p:spPr>
        <p:txBody>
          <a:bodyPr lIns="91440" tIns="45720" rIns="91440" bIns="45720" anchor="t"/>
          <a:lstStyle/>
          <a:p>
            <a:r>
              <a:rPr lang="en-GB" sz="2000">
                <a:latin typeface="Open Sans"/>
                <a:ea typeface="Open Sans"/>
                <a:cs typeface="Open Sans"/>
              </a:rPr>
              <a:t>Blood Cell AI – </a:t>
            </a:r>
            <a:endParaRPr lang="en-GB" sz="2000"/>
          </a:p>
          <a:p>
            <a:r>
              <a:rPr lang="en-GB" sz="2000">
                <a:latin typeface="Open Sans"/>
                <a:ea typeface="Open Sans"/>
                <a:cs typeface="Open Sans"/>
              </a:rPr>
              <a:t>Classification of Blood cell subtypes</a:t>
            </a:r>
          </a:p>
        </p:txBody>
      </p:sp>
      <p:sp>
        <p:nvSpPr>
          <p:cNvPr id="5" name="Textplatzhalter 4">
            <a:extLst>
              <a:ext uri="{FF2B5EF4-FFF2-40B4-BE49-F238E27FC236}">
                <a16:creationId xmlns:a16="http://schemas.microsoft.com/office/drawing/2014/main" id="{D82033B0-7937-C1FB-F944-3ED8D21FF092}"/>
              </a:ext>
            </a:extLst>
          </p:cNvPr>
          <p:cNvSpPr>
            <a:spLocks noGrp="1"/>
          </p:cNvSpPr>
          <p:nvPr>
            <p:ph type="body" sz="quarter" idx="16"/>
          </p:nvPr>
        </p:nvSpPr>
        <p:spPr>
          <a:xfrm>
            <a:off x="337654" y="3990975"/>
            <a:ext cx="5415090" cy="1621240"/>
          </a:xfrm>
        </p:spPr>
        <p:txBody>
          <a:bodyPr lIns="91440" tIns="45720" rIns="91440" bIns="45720" anchor="t"/>
          <a:lstStyle/>
          <a:p>
            <a:r>
              <a:rPr lang="de-DE" sz="1400"/>
              <a:t>Hendrik Künnemann - 57995</a:t>
            </a:r>
          </a:p>
          <a:p>
            <a:r>
              <a:rPr lang="de-DE" sz="1400"/>
              <a:t>Luc Marcel Pellinger - 58611</a:t>
            </a:r>
          </a:p>
          <a:p>
            <a:r>
              <a:rPr lang="de-DE" sz="1400"/>
              <a:t>Moritz Lind - 61230</a:t>
            </a:r>
          </a:p>
          <a:p>
            <a:r>
              <a:rPr lang="de-DE" sz="1400"/>
              <a:t>Tomás Shoemaker Simão Gonçalves - 47016</a:t>
            </a:r>
          </a:p>
          <a:p>
            <a:r>
              <a:rPr lang="de-DE" sz="1400"/>
              <a:t>Zeno Eule - 59093</a:t>
            </a:r>
          </a:p>
        </p:txBody>
      </p:sp>
      <p:pic>
        <p:nvPicPr>
          <p:cNvPr id="9" name="Picture 8" descr="A logo with red and blue colors&#10;&#10;Description automatically generated">
            <a:extLst>
              <a:ext uri="{FF2B5EF4-FFF2-40B4-BE49-F238E27FC236}">
                <a16:creationId xmlns:a16="http://schemas.microsoft.com/office/drawing/2014/main" id="{8794D768-277F-69ED-0B3B-CD84446F68D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771453" y="1724561"/>
            <a:ext cx="2898843" cy="2898843"/>
          </a:xfrm>
          <a:prstGeom prst="rect">
            <a:avLst/>
          </a:prstGeom>
        </p:spPr>
      </p:pic>
      <p:sp>
        <p:nvSpPr>
          <p:cNvPr id="10" name="Rectangle 9">
            <a:extLst>
              <a:ext uri="{FF2B5EF4-FFF2-40B4-BE49-F238E27FC236}">
                <a16:creationId xmlns:a16="http://schemas.microsoft.com/office/drawing/2014/main" id="{6F930BEF-B55E-A025-D65A-1EF934A2409F}"/>
              </a:ext>
            </a:extLst>
          </p:cNvPr>
          <p:cNvSpPr/>
          <p:nvPr/>
        </p:nvSpPr>
        <p:spPr>
          <a:xfrm>
            <a:off x="10207487" y="6182986"/>
            <a:ext cx="1918253" cy="675014"/>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pic>
        <p:nvPicPr>
          <p:cNvPr id="11" name="Picture 10" descr="A logo with red and blue colors&#10;&#10;Description automatically generated">
            <a:extLst>
              <a:ext uri="{FF2B5EF4-FFF2-40B4-BE49-F238E27FC236}">
                <a16:creationId xmlns:a16="http://schemas.microsoft.com/office/drawing/2014/main" id="{D787EEA1-87BB-282A-4361-1095D3740AA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1496" y="2395679"/>
            <a:ext cx="1183589" cy="1183589"/>
          </a:xfrm>
          <a:prstGeom prst="ellipse">
            <a:avLst/>
          </a:prstGeom>
        </p:spPr>
      </p:pic>
      <p:pic>
        <p:nvPicPr>
          <p:cNvPr id="13" name="Picture 12" descr="A logo of a microscope&#10;&#10;Description automatically generated">
            <a:extLst>
              <a:ext uri="{FF2B5EF4-FFF2-40B4-BE49-F238E27FC236}">
                <a16:creationId xmlns:a16="http://schemas.microsoft.com/office/drawing/2014/main" id="{7CD2D36E-700E-7D54-B044-483C1992DE9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771453" y="4801595"/>
            <a:ext cx="3610953" cy="3588385"/>
          </a:xfrm>
          <a:prstGeom prst="rect">
            <a:avLst/>
          </a:prstGeom>
        </p:spPr>
      </p:pic>
    </p:spTree>
    <p:extLst>
      <p:ext uri="{BB962C8B-B14F-4D97-AF65-F5344CB8AC3E}">
        <p14:creationId xmlns:p14="http://schemas.microsoft.com/office/powerpoint/2010/main" val="2401001035"/>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A14E115A-F275-DEF6-3FD2-67E1DDE8F611}"/>
              </a:ext>
            </a:extLst>
          </p:cNvPr>
          <p:cNvGraphicFramePr>
            <a:graphicFrameLocks noChangeAspect="1"/>
          </p:cNvGraphicFramePr>
          <p:nvPr>
            <p:custDataLst>
              <p:tags r:id="rId1"/>
            </p:custDataLst>
            <p:extLst>
              <p:ext uri="{D42A27DB-BD31-4B8C-83A1-F6EECF244321}">
                <p14:modId xmlns:p14="http://schemas.microsoft.com/office/powerpoint/2010/main" val="2210286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6" imgH="426" progId="TCLayout.ActiveDocument.1">
                  <p:embed/>
                </p:oleObj>
              </mc:Choice>
              <mc:Fallback>
                <p:oleObj name="think-cell Folie" r:id="rId3" imgW="426" imgH="426" progId="TCLayout.ActiveDocument.1">
                  <p:embed/>
                  <p:pic>
                    <p:nvPicPr>
                      <p:cNvPr id="39" name="think-cell data - do not delete" hidden="1">
                        <a:extLst>
                          <a:ext uri="{FF2B5EF4-FFF2-40B4-BE49-F238E27FC236}">
                            <a16:creationId xmlns:a16="http://schemas.microsoft.com/office/drawing/2014/main" id="{A14E115A-F275-DEF6-3FD2-67E1DDE8F6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hteck 18">
            <a:extLst>
              <a:ext uri="{FF2B5EF4-FFF2-40B4-BE49-F238E27FC236}">
                <a16:creationId xmlns:a16="http://schemas.microsoft.com/office/drawing/2014/main" id="{A49ACF58-1D01-1800-24D6-39983D3EE8D2}"/>
              </a:ext>
            </a:extLst>
          </p:cNvPr>
          <p:cNvSpPr/>
          <p:nvPr/>
        </p:nvSpPr>
        <p:spPr>
          <a:xfrm>
            <a:off x="2163584" y="1523182"/>
            <a:ext cx="9600252" cy="3502339"/>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31" name="Rechteck 9">
            <a:extLst>
              <a:ext uri="{FF2B5EF4-FFF2-40B4-BE49-F238E27FC236}">
                <a16:creationId xmlns:a16="http://schemas.microsoft.com/office/drawing/2014/main" id="{132BF52C-3DD4-6A5A-50EC-C7BB949CC9B5}"/>
              </a:ext>
            </a:extLst>
          </p:cNvPr>
          <p:cNvSpPr/>
          <p:nvPr/>
        </p:nvSpPr>
        <p:spPr>
          <a:xfrm>
            <a:off x="451155" y="1523183"/>
            <a:ext cx="1585460" cy="3454544"/>
          </a:xfrm>
          <a:prstGeom prst="rect">
            <a:avLst/>
          </a:prstGeom>
          <a:solidFill>
            <a:schemeClr val="accent1">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defTabSz="825500">
              <a:lnSpc>
                <a:spcPct val="100000"/>
              </a:lnSpc>
              <a:spcBef>
                <a:spcPts val="0"/>
              </a:spcBef>
              <a:spcAft>
                <a:spcPts val="0"/>
              </a:spcAft>
              <a:buNone/>
              <a:tabLst/>
            </a:pPr>
            <a:r>
              <a:rPr lang="en-US" sz="1200" b="1">
                <a:ea typeface="+mn-lt"/>
                <a:cs typeface="+mn-lt"/>
              </a:rPr>
              <a:t>Metric</a:t>
            </a:r>
          </a:p>
        </p:txBody>
      </p:sp>
      <p:sp>
        <p:nvSpPr>
          <p:cNvPr id="33" name="Rechteck 32">
            <a:extLst>
              <a:ext uri="{FF2B5EF4-FFF2-40B4-BE49-F238E27FC236}">
                <a16:creationId xmlns:a16="http://schemas.microsoft.com/office/drawing/2014/main" id="{8A0DB2FA-0E6A-532A-1130-98D02AEBF57B}"/>
              </a:ext>
            </a:extLst>
          </p:cNvPr>
          <p:cNvSpPr/>
          <p:nvPr/>
        </p:nvSpPr>
        <p:spPr>
          <a:xfrm>
            <a:off x="456070" y="3223660"/>
            <a:ext cx="1585460" cy="1332000"/>
          </a:xfrm>
          <a:prstGeom prst="rect">
            <a:avLst/>
          </a:prstGeom>
          <a:solidFill>
            <a:schemeClr val="accent1">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defTabSz="825500"/>
            <a:r>
              <a:rPr lang="en-US" sz="1200" b="1">
                <a:sym typeface="Helvetica Neue Medium"/>
              </a:rPr>
              <a:t>Importance</a:t>
            </a:r>
          </a:p>
        </p:txBody>
      </p:sp>
      <p:sp>
        <p:nvSpPr>
          <p:cNvPr id="5" name="Rechteck 9">
            <a:extLst>
              <a:ext uri="{FF2B5EF4-FFF2-40B4-BE49-F238E27FC236}">
                <a16:creationId xmlns:a16="http://schemas.microsoft.com/office/drawing/2014/main" id="{D460FF20-70B3-8B59-C320-67A1E61DFB74}"/>
              </a:ext>
            </a:extLst>
          </p:cNvPr>
          <p:cNvSpPr/>
          <p:nvPr/>
        </p:nvSpPr>
        <p:spPr>
          <a:xfrm>
            <a:off x="4618273" y="1523184"/>
            <a:ext cx="2268000" cy="3194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ctr" defTabSz="825500">
              <a:lnSpc>
                <a:spcPct val="100000"/>
              </a:lnSpc>
              <a:spcBef>
                <a:spcPts val="0"/>
              </a:spcBef>
              <a:spcAft>
                <a:spcPts val="0"/>
              </a:spcAft>
              <a:buNone/>
              <a:tabLst/>
            </a:pPr>
            <a:r>
              <a:rPr lang="en-US" sz="1200" b="1">
                <a:ea typeface="+mn-lt"/>
                <a:cs typeface="+mn-lt"/>
              </a:rPr>
              <a:t>Precision</a:t>
            </a:r>
          </a:p>
        </p:txBody>
      </p:sp>
      <p:sp>
        <p:nvSpPr>
          <p:cNvPr id="11" name="Rechteck 9">
            <a:extLst>
              <a:ext uri="{FF2B5EF4-FFF2-40B4-BE49-F238E27FC236}">
                <a16:creationId xmlns:a16="http://schemas.microsoft.com/office/drawing/2014/main" id="{5500EF37-17F7-4892-EA6E-FD64A4AB30A8}"/>
              </a:ext>
            </a:extLst>
          </p:cNvPr>
          <p:cNvSpPr/>
          <p:nvPr/>
        </p:nvSpPr>
        <p:spPr>
          <a:xfrm>
            <a:off x="7052934" y="1523184"/>
            <a:ext cx="2268000" cy="3194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ctr" defTabSz="825500">
              <a:lnSpc>
                <a:spcPct val="100000"/>
              </a:lnSpc>
              <a:spcBef>
                <a:spcPts val="0"/>
              </a:spcBef>
              <a:spcAft>
                <a:spcPts val="0"/>
              </a:spcAft>
              <a:buNone/>
              <a:tabLst/>
            </a:pPr>
            <a:r>
              <a:rPr lang="en-US" sz="1200" b="1">
                <a:ea typeface="+mn-lt"/>
                <a:cs typeface="+mn-lt"/>
              </a:rPr>
              <a:t>Recall </a:t>
            </a:r>
          </a:p>
        </p:txBody>
      </p:sp>
      <p:sp>
        <p:nvSpPr>
          <p:cNvPr id="16" name="Rechteck 9">
            <a:extLst>
              <a:ext uri="{FF2B5EF4-FFF2-40B4-BE49-F238E27FC236}">
                <a16:creationId xmlns:a16="http://schemas.microsoft.com/office/drawing/2014/main" id="{3A488780-7A6E-2E0E-9225-3344CD2BD06F}"/>
              </a:ext>
            </a:extLst>
          </p:cNvPr>
          <p:cNvSpPr/>
          <p:nvPr/>
        </p:nvSpPr>
        <p:spPr>
          <a:xfrm>
            <a:off x="2183612" y="1523184"/>
            <a:ext cx="2268000" cy="3194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ctr" defTabSz="825500">
              <a:lnSpc>
                <a:spcPct val="100000"/>
              </a:lnSpc>
              <a:spcBef>
                <a:spcPts val="0"/>
              </a:spcBef>
              <a:spcAft>
                <a:spcPts val="0"/>
              </a:spcAft>
              <a:buNone/>
              <a:tabLst/>
            </a:pPr>
            <a:r>
              <a:rPr lang="en-US" sz="1200" b="1">
                <a:ea typeface="+mn-lt"/>
                <a:cs typeface="+mn-lt"/>
              </a:rPr>
              <a:t>Accuracy</a:t>
            </a:r>
          </a:p>
        </p:txBody>
      </p:sp>
      <p:sp>
        <p:nvSpPr>
          <p:cNvPr id="21" name="Rechteck 9">
            <a:extLst>
              <a:ext uri="{FF2B5EF4-FFF2-40B4-BE49-F238E27FC236}">
                <a16:creationId xmlns:a16="http://schemas.microsoft.com/office/drawing/2014/main" id="{78DC9976-6234-D11E-70A1-B1EA8DD9275E}"/>
              </a:ext>
            </a:extLst>
          </p:cNvPr>
          <p:cNvSpPr/>
          <p:nvPr/>
        </p:nvSpPr>
        <p:spPr>
          <a:xfrm>
            <a:off x="9487594" y="1523184"/>
            <a:ext cx="2268000" cy="3194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ctr" defTabSz="825500">
              <a:lnSpc>
                <a:spcPct val="100000"/>
              </a:lnSpc>
              <a:spcBef>
                <a:spcPts val="0"/>
              </a:spcBef>
              <a:spcAft>
                <a:spcPts val="0"/>
              </a:spcAft>
              <a:buNone/>
              <a:tabLst/>
            </a:pPr>
            <a:r>
              <a:rPr lang="en-US" sz="1200" b="1">
                <a:ea typeface="+mn-lt"/>
                <a:cs typeface="+mn-lt"/>
              </a:rPr>
              <a:t>F1-Score</a:t>
            </a:r>
          </a:p>
        </p:txBody>
      </p:sp>
      <p:sp>
        <p:nvSpPr>
          <p:cNvPr id="2" name="Text Placeholder 1">
            <a:extLst>
              <a:ext uri="{FF2B5EF4-FFF2-40B4-BE49-F238E27FC236}">
                <a16:creationId xmlns:a16="http://schemas.microsoft.com/office/drawing/2014/main" id="{89DFD32D-6508-96B2-E7B9-0B50D3FAB32B}"/>
              </a:ext>
            </a:extLst>
          </p:cNvPr>
          <p:cNvSpPr>
            <a:spLocks noGrp="1"/>
          </p:cNvSpPr>
          <p:nvPr>
            <p:ph type="body" sz="quarter" idx="14"/>
          </p:nvPr>
        </p:nvSpPr>
        <p:spPr/>
        <p:txBody>
          <a:bodyPr/>
          <a:lstStyle/>
          <a:p>
            <a:r>
              <a:rPr lang="en-US"/>
              <a:t>Performance</a:t>
            </a:r>
          </a:p>
        </p:txBody>
      </p:sp>
      <p:sp>
        <p:nvSpPr>
          <p:cNvPr id="3" name="Text Placeholder 2">
            <a:extLst>
              <a:ext uri="{FF2B5EF4-FFF2-40B4-BE49-F238E27FC236}">
                <a16:creationId xmlns:a16="http://schemas.microsoft.com/office/drawing/2014/main" id="{6D589C28-4250-EB81-2BF8-21E0B631118C}"/>
              </a:ext>
            </a:extLst>
          </p:cNvPr>
          <p:cNvSpPr>
            <a:spLocks noGrp="1"/>
          </p:cNvSpPr>
          <p:nvPr>
            <p:ph type="body" sz="quarter" idx="15"/>
          </p:nvPr>
        </p:nvSpPr>
        <p:spPr/>
        <p:txBody>
          <a:bodyPr/>
          <a:lstStyle/>
          <a:p>
            <a:r>
              <a:rPr lang="en-US"/>
              <a:t>Metrics for Evaluation</a:t>
            </a:r>
          </a:p>
        </p:txBody>
      </p:sp>
      <p:sp>
        <p:nvSpPr>
          <p:cNvPr id="4" name="Rechteck 3">
            <a:extLst>
              <a:ext uri="{FF2B5EF4-FFF2-40B4-BE49-F238E27FC236}">
                <a16:creationId xmlns:a16="http://schemas.microsoft.com/office/drawing/2014/main" id="{DB78829A-52B2-01F6-3DA7-84C0D6CF7051}"/>
              </a:ext>
            </a:extLst>
          </p:cNvPr>
          <p:cNvSpPr/>
          <p:nvPr/>
        </p:nvSpPr>
        <p:spPr>
          <a:xfrm>
            <a:off x="4618273" y="1863129"/>
            <a:ext cx="2268000" cy="545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indent="-171450" algn="just" defTabSz="825500">
              <a:buFont typeface="Arial" panose="020B0604020202020204" pitchFamily="34" charset="0"/>
              <a:buChar char="•"/>
            </a:pPr>
            <a:r>
              <a:rPr lang="en-US" sz="1200">
                <a:sym typeface="Helvetica Neue Medium"/>
              </a:rPr>
              <a:t>Proportion of true positives among the total positive predictions.</a:t>
            </a:r>
          </a:p>
        </p:txBody>
      </p:sp>
      <mc:AlternateContent xmlns:mc="http://schemas.openxmlformats.org/markup-compatibility/2006">
        <mc:Choice xmlns:a14="http://schemas.microsoft.com/office/drawing/2010/main" Requires="a14">
          <p:sp>
            <p:nvSpPr>
              <p:cNvPr id="7" name="Rechteck 6">
                <a:extLst>
                  <a:ext uri="{FF2B5EF4-FFF2-40B4-BE49-F238E27FC236}">
                    <a16:creationId xmlns:a16="http://schemas.microsoft.com/office/drawing/2014/main" id="{A0EB7227-34E4-1B22-73EF-A976BB1E46C2}"/>
                  </a:ext>
                </a:extLst>
              </p:cNvPr>
              <p:cNvSpPr/>
              <p:nvPr/>
            </p:nvSpPr>
            <p:spPr>
              <a:xfrm>
                <a:off x="4623188" y="2684119"/>
                <a:ext cx="2268000" cy="545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defTabSz="825500"/>
                <a14:m>
                  <m:oMathPara xmlns:m="http://schemas.openxmlformats.org/officeDocument/2006/math">
                    <m:oMathParaPr>
                      <m:jc m:val="centerGroup"/>
                    </m:oMathParaPr>
                    <m:oMath xmlns:m="http://schemas.openxmlformats.org/officeDocument/2006/math">
                      <m:r>
                        <a:rPr lang="en-US" sz="1200" b="0" i="1" smtClean="0">
                          <a:latin typeface="Cambria Math" panose="02040503050406030204" pitchFamily="18" charset="0"/>
                          <a:sym typeface="Helvetica Neue Medium"/>
                        </a:rPr>
                        <m:t>𝑃𝑟𝑒𝑐𝑖𝑠𝑖𝑜𝑛</m:t>
                      </m:r>
                      <m:r>
                        <a:rPr lang="en-US" sz="1200" b="0" i="1" smtClean="0">
                          <a:latin typeface="Cambria Math" panose="02040503050406030204" pitchFamily="18" charset="0"/>
                          <a:sym typeface="Helvetica Neue Medium"/>
                        </a:rPr>
                        <m:t>=</m:t>
                      </m:r>
                      <m:f>
                        <m:fPr>
                          <m:ctrlPr>
                            <a:rPr lang="pt-PT" sz="1200" i="1" smtClean="0">
                              <a:latin typeface="Cambria Math" panose="02040503050406030204" pitchFamily="18" charset="0"/>
                              <a:sym typeface="Helvetica Neue Medium"/>
                            </a:rPr>
                          </m:ctrlPr>
                        </m:fPr>
                        <m:num>
                          <m:r>
                            <a:rPr lang="en-US" sz="1200" b="0" i="1" smtClean="0">
                              <a:latin typeface="Cambria Math" panose="02040503050406030204" pitchFamily="18" charset="0"/>
                              <a:sym typeface="Helvetica Neue Medium"/>
                            </a:rPr>
                            <m:t>𝑇𝑃</m:t>
                          </m:r>
                        </m:num>
                        <m:den>
                          <m:r>
                            <a:rPr lang="en-US" sz="1200" b="0" i="1" smtClean="0">
                              <a:latin typeface="Cambria Math" panose="02040503050406030204" pitchFamily="18" charset="0"/>
                              <a:sym typeface="Helvetica Neue Medium"/>
                            </a:rPr>
                            <m:t>𝑇𝑃</m:t>
                          </m:r>
                          <m:r>
                            <a:rPr lang="en-US" sz="1200" b="0" i="1" smtClean="0">
                              <a:latin typeface="Cambria Math" panose="02040503050406030204" pitchFamily="18" charset="0"/>
                              <a:sym typeface="Helvetica Neue Medium"/>
                            </a:rPr>
                            <m:t>+</m:t>
                          </m:r>
                          <m:r>
                            <a:rPr lang="en-US" sz="1200" b="0" i="1" smtClean="0">
                              <a:latin typeface="Cambria Math" panose="02040503050406030204" pitchFamily="18" charset="0"/>
                              <a:sym typeface="Helvetica Neue Medium"/>
                            </a:rPr>
                            <m:t>𝐹𝑃</m:t>
                          </m:r>
                        </m:den>
                      </m:f>
                    </m:oMath>
                  </m:oMathPara>
                </a14:m>
                <a:endParaRPr lang="en-US" sz="1200">
                  <a:sym typeface="Helvetica Neue Medium"/>
                </a:endParaRPr>
              </a:p>
              <a:p>
                <a:pPr marL="171450" indent="-171450" defTabSz="825500">
                  <a:buFont typeface="Arial" panose="020B0604020202020204" pitchFamily="34" charset="0"/>
                  <a:buChar char="•"/>
                </a:pPr>
                <a:endParaRPr lang="en-US" sz="1200">
                  <a:sym typeface="Helvetica Neue Medium"/>
                </a:endParaRPr>
              </a:p>
            </p:txBody>
          </p:sp>
        </mc:Choice>
        <mc:Fallback>
          <p:sp>
            <p:nvSpPr>
              <p:cNvPr id="7" name="Rechteck 6">
                <a:extLst>
                  <a:ext uri="{FF2B5EF4-FFF2-40B4-BE49-F238E27FC236}">
                    <a16:creationId xmlns:a16="http://schemas.microsoft.com/office/drawing/2014/main" id="{A0EB7227-34E4-1B22-73EF-A976BB1E46C2}"/>
                  </a:ext>
                </a:extLst>
              </p:cNvPr>
              <p:cNvSpPr>
                <a:spLocks noRot="1" noChangeAspect="1" noMove="1" noResize="1" noEditPoints="1" noAdjustHandles="1" noChangeArrowheads="1" noChangeShapeType="1" noTextEdit="1"/>
              </p:cNvSpPr>
              <p:nvPr/>
            </p:nvSpPr>
            <p:spPr>
              <a:xfrm>
                <a:off x="4623188" y="2684119"/>
                <a:ext cx="2268000" cy="545775"/>
              </a:xfrm>
              <a:prstGeom prst="rect">
                <a:avLst/>
              </a:prstGeom>
              <a:blipFill>
                <a:blip r:embed="rId5"/>
                <a:stretch>
                  <a:fillRect/>
                </a:stretch>
              </a:blipFill>
              <a:ln w="12700" cap="flat">
                <a:noFill/>
                <a:miter lim="400000"/>
              </a:ln>
              <a:effectLst/>
            </p:spPr>
            <p:txBody>
              <a:bodyPr/>
              <a:lstStyle/>
              <a:p>
                <a:r>
                  <a:rPr lang="en-US">
                    <a:noFill/>
                  </a:rPr>
                  <a:t> </a:t>
                </a:r>
              </a:p>
            </p:txBody>
          </p:sp>
        </mc:Fallback>
      </mc:AlternateContent>
      <p:sp>
        <p:nvSpPr>
          <p:cNvPr id="9" name="Rechteck 8">
            <a:extLst>
              <a:ext uri="{FF2B5EF4-FFF2-40B4-BE49-F238E27FC236}">
                <a16:creationId xmlns:a16="http://schemas.microsoft.com/office/drawing/2014/main" id="{5355AB66-D5B1-5D4A-5538-7734AC7E118B}"/>
              </a:ext>
            </a:extLst>
          </p:cNvPr>
          <p:cNvSpPr/>
          <p:nvPr/>
        </p:nvSpPr>
        <p:spPr>
          <a:xfrm>
            <a:off x="4623188" y="3223660"/>
            <a:ext cx="2268000" cy="545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indent="-171450" algn="just" defTabSz="825500">
              <a:buFont typeface="Arial" panose="020B0604020202020204" pitchFamily="34" charset="0"/>
              <a:buChar char="•"/>
            </a:pPr>
            <a:r>
              <a:rPr lang="en-US" sz="1200">
                <a:sym typeface="Helvetica Neue Medium"/>
              </a:rPr>
              <a:t>Critical for minimizing false positives, which is especially important for medical diagnostics to prevent inappropriate treatments.</a:t>
            </a:r>
          </a:p>
        </p:txBody>
      </p:sp>
      <p:sp>
        <p:nvSpPr>
          <p:cNvPr id="10" name="Rechteck 9">
            <a:extLst>
              <a:ext uri="{FF2B5EF4-FFF2-40B4-BE49-F238E27FC236}">
                <a16:creationId xmlns:a16="http://schemas.microsoft.com/office/drawing/2014/main" id="{C171FA25-6C71-B40C-A418-72AA2CFAEAF8}"/>
              </a:ext>
            </a:extLst>
          </p:cNvPr>
          <p:cNvSpPr/>
          <p:nvPr/>
        </p:nvSpPr>
        <p:spPr>
          <a:xfrm>
            <a:off x="7052934" y="1863129"/>
            <a:ext cx="2268000" cy="545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indent="-171450" algn="just" defTabSz="825500">
              <a:buFont typeface="Arial" panose="020B0604020202020204" pitchFamily="34" charset="0"/>
              <a:buChar char="•"/>
            </a:pPr>
            <a:r>
              <a:rPr lang="en-US" sz="1200">
                <a:sym typeface="Helvetica Neue Medium"/>
              </a:rPr>
              <a:t>Proportion of true positives among the total actual positives.</a:t>
            </a:r>
          </a:p>
        </p:txBody>
      </p:sp>
      <mc:AlternateContent xmlns:mc="http://schemas.openxmlformats.org/markup-compatibility/2006">
        <mc:Choice xmlns:a14="http://schemas.microsoft.com/office/drawing/2010/main" Requires="a14">
          <p:sp>
            <p:nvSpPr>
              <p:cNvPr id="12" name="Rechteck 11">
                <a:extLst>
                  <a:ext uri="{FF2B5EF4-FFF2-40B4-BE49-F238E27FC236}">
                    <a16:creationId xmlns:a16="http://schemas.microsoft.com/office/drawing/2014/main" id="{B17888B0-8B6A-BEAE-0791-C548FDA65008}"/>
                  </a:ext>
                </a:extLst>
              </p:cNvPr>
              <p:cNvSpPr/>
              <p:nvPr/>
            </p:nvSpPr>
            <p:spPr>
              <a:xfrm>
                <a:off x="7057849" y="2684119"/>
                <a:ext cx="2268000" cy="545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defTabSz="825500"/>
                <a14:m>
                  <m:oMathPara xmlns:m="http://schemas.openxmlformats.org/officeDocument/2006/math">
                    <m:oMathParaPr>
                      <m:jc m:val="centerGroup"/>
                    </m:oMathParaPr>
                    <m:oMath xmlns:m="http://schemas.openxmlformats.org/officeDocument/2006/math">
                      <m:r>
                        <m:rPr>
                          <m:sty m:val="p"/>
                        </m:rPr>
                        <a:rPr lang="en-US" sz="1200" b="0" i="0" smtClean="0">
                          <a:latin typeface="Cambria Math" panose="02040503050406030204" pitchFamily="18" charset="0"/>
                          <a:sym typeface="Helvetica Neue Medium"/>
                        </a:rPr>
                        <m:t>Recall</m:t>
                      </m:r>
                      <m:r>
                        <a:rPr lang="en-US" sz="1200" b="0" i="1" smtClean="0">
                          <a:latin typeface="Cambria Math" panose="02040503050406030204" pitchFamily="18" charset="0"/>
                          <a:sym typeface="Helvetica Neue Medium"/>
                        </a:rPr>
                        <m:t>=</m:t>
                      </m:r>
                      <m:f>
                        <m:fPr>
                          <m:ctrlPr>
                            <a:rPr lang="pt-PT" sz="1200" i="1" smtClean="0">
                              <a:latin typeface="Cambria Math" panose="02040503050406030204" pitchFamily="18" charset="0"/>
                              <a:sym typeface="Helvetica Neue Medium"/>
                            </a:rPr>
                          </m:ctrlPr>
                        </m:fPr>
                        <m:num>
                          <m:r>
                            <a:rPr lang="en-US" sz="1200" b="0" i="1" smtClean="0">
                              <a:latin typeface="Cambria Math" panose="02040503050406030204" pitchFamily="18" charset="0"/>
                              <a:sym typeface="Helvetica Neue Medium"/>
                            </a:rPr>
                            <m:t>𝑇𝑃</m:t>
                          </m:r>
                        </m:num>
                        <m:den>
                          <m:r>
                            <a:rPr lang="en-US" sz="1200" b="0" i="1" smtClean="0">
                              <a:latin typeface="Cambria Math" panose="02040503050406030204" pitchFamily="18" charset="0"/>
                              <a:sym typeface="Helvetica Neue Medium"/>
                            </a:rPr>
                            <m:t>𝑇𝑃</m:t>
                          </m:r>
                          <m:r>
                            <a:rPr lang="en-US" sz="1200" b="0" i="1" smtClean="0">
                              <a:latin typeface="Cambria Math" panose="02040503050406030204" pitchFamily="18" charset="0"/>
                              <a:sym typeface="Helvetica Neue Medium"/>
                            </a:rPr>
                            <m:t>+</m:t>
                          </m:r>
                          <m:r>
                            <a:rPr lang="en-US" sz="1200" b="0" i="1" smtClean="0">
                              <a:latin typeface="Cambria Math" panose="02040503050406030204" pitchFamily="18" charset="0"/>
                              <a:sym typeface="Helvetica Neue Medium"/>
                            </a:rPr>
                            <m:t>𝐹𝑁</m:t>
                          </m:r>
                        </m:den>
                      </m:f>
                    </m:oMath>
                  </m:oMathPara>
                </a14:m>
                <a:endParaRPr lang="en-US" sz="1200">
                  <a:sym typeface="Helvetica Neue Medium"/>
                </a:endParaRPr>
              </a:p>
              <a:p>
                <a:pPr marL="171450" indent="-171450" defTabSz="825500">
                  <a:buFont typeface="Arial" panose="020B0604020202020204" pitchFamily="34" charset="0"/>
                  <a:buChar char="•"/>
                </a:pPr>
                <a:endParaRPr lang="en-US" sz="1200">
                  <a:sym typeface="Helvetica Neue Medium"/>
                </a:endParaRPr>
              </a:p>
            </p:txBody>
          </p:sp>
        </mc:Choice>
        <mc:Fallback>
          <p:sp>
            <p:nvSpPr>
              <p:cNvPr id="12" name="Rechteck 11">
                <a:extLst>
                  <a:ext uri="{FF2B5EF4-FFF2-40B4-BE49-F238E27FC236}">
                    <a16:creationId xmlns:a16="http://schemas.microsoft.com/office/drawing/2014/main" id="{B17888B0-8B6A-BEAE-0791-C548FDA65008}"/>
                  </a:ext>
                </a:extLst>
              </p:cNvPr>
              <p:cNvSpPr>
                <a:spLocks noRot="1" noChangeAspect="1" noMove="1" noResize="1" noEditPoints="1" noAdjustHandles="1" noChangeArrowheads="1" noChangeShapeType="1" noTextEdit="1"/>
              </p:cNvSpPr>
              <p:nvPr/>
            </p:nvSpPr>
            <p:spPr>
              <a:xfrm>
                <a:off x="7057849" y="2684119"/>
                <a:ext cx="2268000" cy="545775"/>
              </a:xfrm>
              <a:prstGeom prst="rect">
                <a:avLst/>
              </a:prstGeom>
              <a:blipFill>
                <a:blip r:embed="rId6"/>
                <a:stretch>
                  <a:fillRect/>
                </a:stretch>
              </a:blipFill>
              <a:ln w="12700" cap="flat">
                <a:noFill/>
                <a:miter lim="400000"/>
              </a:ln>
              <a:effectLst/>
            </p:spPr>
            <p:txBody>
              <a:bodyPr/>
              <a:lstStyle/>
              <a:p>
                <a:r>
                  <a:rPr lang="en-US">
                    <a:noFill/>
                  </a:rPr>
                  <a:t> </a:t>
                </a:r>
              </a:p>
            </p:txBody>
          </p:sp>
        </mc:Fallback>
      </mc:AlternateContent>
      <p:sp>
        <p:nvSpPr>
          <p:cNvPr id="14" name="Rechteck 13">
            <a:extLst>
              <a:ext uri="{FF2B5EF4-FFF2-40B4-BE49-F238E27FC236}">
                <a16:creationId xmlns:a16="http://schemas.microsoft.com/office/drawing/2014/main" id="{335B7DEC-88C8-6705-A199-25E6328D94F9}"/>
              </a:ext>
            </a:extLst>
          </p:cNvPr>
          <p:cNvSpPr/>
          <p:nvPr/>
        </p:nvSpPr>
        <p:spPr>
          <a:xfrm>
            <a:off x="7057849" y="3223660"/>
            <a:ext cx="2268000" cy="545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indent="-171450" algn="just" defTabSz="825500">
              <a:buFont typeface="Arial" panose="020B0604020202020204" pitchFamily="34" charset="0"/>
              <a:buChar char="•"/>
            </a:pPr>
            <a:r>
              <a:rPr lang="en-US" sz="1200">
                <a:sym typeface="Helvetica Neue Medium"/>
              </a:rPr>
              <a:t>Ensures that as many actual positive cases as possible are detected, essential for not missing critical diagnostic information.</a:t>
            </a:r>
          </a:p>
        </p:txBody>
      </p:sp>
      <p:sp>
        <p:nvSpPr>
          <p:cNvPr id="15" name="Rechteck 14">
            <a:extLst>
              <a:ext uri="{FF2B5EF4-FFF2-40B4-BE49-F238E27FC236}">
                <a16:creationId xmlns:a16="http://schemas.microsoft.com/office/drawing/2014/main" id="{734D178E-987E-95F8-E926-B84B13AF2C8E}"/>
              </a:ext>
            </a:extLst>
          </p:cNvPr>
          <p:cNvSpPr/>
          <p:nvPr/>
        </p:nvSpPr>
        <p:spPr>
          <a:xfrm>
            <a:off x="2183612" y="1863129"/>
            <a:ext cx="2268000" cy="545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indent="-171450" algn="just" defTabSz="825500">
              <a:buFont typeface="Arial" panose="020B0604020202020204" pitchFamily="34" charset="0"/>
              <a:buChar char="•"/>
            </a:pPr>
            <a:r>
              <a:rPr lang="en-US" sz="1200">
                <a:sym typeface="Helvetica Neue Medium"/>
              </a:rPr>
              <a:t>Proportion of true results (both true positives and true negatives) among the total number of cases examined.</a:t>
            </a:r>
          </a:p>
        </p:txBody>
      </p:sp>
      <p:sp>
        <p:nvSpPr>
          <p:cNvPr id="17" name="Rechteck 16">
            <a:extLst>
              <a:ext uri="{FF2B5EF4-FFF2-40B4-BE49-F238E27FC236}">
                <a16:creationId xmlns:a16="http://schemas.microsoft.com/office/drawing/2014/main" id="{4536F71E-86FC-BE6B-4853-3135AC17B231}"/>
              </a:ext>
            </a:extLst>
          </p:cNvPr>
          <p:cNvSpPr/>
          <p:nvPr/>
        </p:nvSpPr>
        <p:spPr>
          <a:xfrm>
            <a:off x="2188527" y="2497309"/>
            <a:ext cx="2268000" cy="545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indent="-171450" defTabSz="825500">
              <a:buFont typeface="Arial" panose="020B0604020202020204" pitchFamily="34" charset="0"/>
              <a:buChar char="•"/>
            </a:pPr>
            <a:endParaRPr lang="en-US" sz="1200">
              <a:sym typeface="Helvetica Neue Medium"/>
            </a:endParaRPr>
          </a:p>
        </p:txBody>
      </p:sp>
      <p:sp>
        <p:nvSpPr>
          <p:cNvPr id="18" name="Rechteck 17">
            <a:extLst>
              <a:ext uri="{FF2B5EF4-FFF2-40B4-BE49-F238E27FC236}">
                <a16:creationId xmlns:a16="http://schemas.microsoft.com/office/drawing/2014/main" id="{5701892C-11B7-5E73-77F4-A214F8DE2A45}"/>
              </a:ext>
            </a:extLst>
          </p:cNvPr>
          <p:cNvSpPr/>
          <p:nvPr/>
        </p:nvSpPr>
        <p:spPr>
          <a:xfrm>
            <a:off x="2188527" y="3223660"/>
            <a:ext cx="2268000" cy="545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indent="-171450" algn="just" defTabSz="825500">
              <a:buFont typeface="Arial" panose="020B0604020202020204" pitchFamily="34" charset="0"/>
              <a:buChar char="•"/>
            </a:pPr>
            <a:r>
              <a:rPr lang="en-US" sz="1200">
                <a:sym typeface="Helvetica Neue Medium"/>
              </a:rPr>
              <a:t>General Measure of model performance</a:t>
            </a:r>
          </a:p>
          <a:p>
            <a:pPr marL="171450" indent="-171450" algn="just" defTabSz="825500">
              <a:buFont typeface="Arial" panose="020B0604020202020204" pitchFamily="34" charset="0"/>
              <a:buChar char="•"/>
            </a:pPr>
            <a:r>
              <a:rPr lang="en-US" sz="1200">
                <a:sym typeface="Helvetica Neue Medium"/>
              </a:rPr>
              <a:t>Insufficient in case of class imbalance due to skewed results</a:t>
            </a:r>
          </a:p>
          <a:p>
            <a:pPr marL="171450" indent="-171450" algn="just" defTabSz="825500">
              <a:buFont typeface="Arial" panose="020B0604020202020204" pitchFamily="34" charset="0"/>
              <a:buChar char="•"/>
            </a:pPr>
            <a:r>
              <a:rPr lang="en-US" sz="1200">
                <a:sym typeface="Helvetica Neue Medium"/>
              </a:rPr>
              <a:t>Risk of disease cells being misclassified</a:t>
            </a:r>
          </a:p>
        </p:txBody>
      </p:sp>
      <p:sp>
        <p:nvSpPr>
          <p:cNvPr id="20" name="Rechteck 19">
            <a:extLst>
              <a:ext uri="{FF2B5EF4-FFF2-40B4-BE49-F238E27FC236}">
                <a16:creationId xmlns:a16="http://schemas.microsoft.com/office/drawing/2014/main" id="{4E3EA5A1-22C8-24D9-4888-0E0FA049603F}"/>
              </a:ext>
            </a:extLst>
          </p:cNvPr>
          <p:cNvSpPr/>
          <p:nvPr/>
        </p:nvSpPr>
        <p:spPr>
          <a:xfrm>
            <a:off x="9487594" y="1863129"/>
            <a:ext cx="2163632" cy="545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indent="-171450" algn="just" defTabSz="825500">
              <a:buFont typeface="Arial" panose="020B0604020202020204" pitchFamily="34" charset="0"/>
              <a:buChar char="•"/>
            </a:pPr>
            <a:r>
              <a:rPr lang="en-US" sz="1200">
                <a:sym typeface="Helvetica Neue Medium"/>
              </a:rPr>
              <a:t>Harmonic mean of precision and recall.</a:t>
            </a:r>
          </a:p>
        </p:txBody>
      </p:sp>
      <mc:AlternateContent xmlns:mc="http://schemas.openxmlformats.org/markup-compatibility/2006">
        <mc:Choice xmlns:a14="http://schemas.microsoft.com/office/drawing/2010/main" Requires="a14">
          <p:sp>
            <p:nvSpPr>
              <p:cNvPr id="22" name="Rechteck 21">
                <a:extLst>
                  <a:ext uri="{FF2B5EF4-FFF2-40B4-BE49-F238E27FC236}">
                    <a16:creationId xmlns:a16="http://schemas.microsoft.com/office/drawing/2014/main" id="{7205E1AE-7522-401F-AE4B-E4809D85D667}"/>
                  </a:ext>
                </a:extLst>
              </p:cNvPr>
              <p:cNvSpPr/>
              <p:nvPr/>
            </p:nvSpPr>
            <p:spPr>
              <a:xfrm>
                <a:off x="9392840" y="2654789"/>
                <a:ext cx="2356247" cy="545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defTabSz="825500"/>
                <a14:m>
                  <m:oMathPara xmlns:m="http://schemas.openxmlformats.org/officeDocument/2006/math">
                    <m:oMathParaPr>
                      <m:jc m:val="centerGroup"/>
                    </m:oMathParaPr>
                    <m:oMath xmlns:m="http://schemas.openxmlformats.org/officeDocument/2006/math">
                      <m:r>
                        <a:rPr lang="en-US" sz="1200" b="0" i="1" smtClean="0">
                          <a:latin typeface="Cambria Math" panose="02040503050406030204" pitchFamily="18" charset="0"/>
                          <a:sym typeface="Helvetica Neue Medium"/>
                        </a:rPr>
                        <m:t>𝐹</m:t>
                      </m:r>
                      <m:r>
                        <a:rPr lang="en-US" sz="1200" b="0" i="1" smtClean="0">
                          <a:latin typeface="Cambria Math" panose="02040503050406030204" pitchFamily="18" charset="0"/>
                          <a:sym typeface="Helvetica Neue Medium"/>
                        </a:rPr>
                        <m:t>1</m:t>
                      </m:r>
                      <m:r>
                        <a:rPr lang="en-US" sz="1200" b="0" i="1" smtClean="0">
                          <a:latin typeface="Cambria Math" panose="02040503050406030204" pitchFamily="18" charset="0"/>
                          <a:sym typeface="Helvetica Neue Medium"/>
                        </a:rPr>
                        <m:t>𝑆𝑐𝑜𝑟𝑒</m:t>
                      </m:r>
                      <m:r>
                        <a:rPr lang="en-US" sz="1200" b="0" i="1" smtClean="0">
                          <a:latin typeface="Cambria Math" panose="02040503050406030204" pitchFamily="18" charset="0"/>
                          <a:sym typeface="Helvetica Neue Medium"/>
                        </a:rPr>
                        <m:t>=2×</m:t>
                      </m:r>
                      <m:f>
                        <m:fPr>
                          <m:ctrlPr>
                            <a:rPr lang="pt-PT" sz="1200" i="1" smtClean="0">
                              <a:latin typeface="Cambria Math" panose="02040503050406030204" pitchFamily="18" charset="0"/>
                              <a:sym typeface="Helvetica Neue Medium"/>
                            </a:rPr>
                          </m:ctrlPr>
                        </m:fPr>
                        <m:num>
                          <m:r>
                            <a:rPr lang="en-US" sz="1200" b="0" i="1" smtClean="0">
                              <a:latin typeface="Cambria Math" panose="02040503050406030204" pitchFamily="18" charset="0"/>
                              <a:sym typeface="Helvetica Neue Medium"/>
                            </a:rPr>
                            <m:t>𝑃𝑟𝑒𝑐𝑖𝑠𝑖𝑜𝑛</m:t>
                          </m:r>
                          <m:r>
                            <a:rPr lang="en-US" sz="1200" b="0" i="1" smtClean="0">
                              <a:latin typeface="Cambria Math" panose="02040503050406030204" pitchFamily="18" charset="0"/>
                              <a:ea typeface="Cambria Math" panose="02040503050406030204" pitchFamily="18" charset="0"/>
                              <a:sym typeface="Helvetica Neue Medium"/>
                            </a:rPr>
                            <m:t>×</m:t>
                          </m:r>
                          <m:r>
                            <a:rPr lang="en-US" sz="1200" b="0" i="1" smtClean="0">
                              <a:latin typeface="Cambria Math" panose="02040503050406030204" pitchFamily="18" charset="0"/>
                              <a:ea typeface="Cambria Math" panose="02040503050406030204" pitchFamily="18" charset="0"/>
                              <a:sym typeface="Helvetica Neue Medium"/>
                            </a:rPr>
                            <m:t>𝑅𝑒𝑐𝑎𝑙𝑙</m:t>
                          </m:r>
                        </m:num>
                        <m:den>
                          <m:r>
                            <a:rPr lang="en-US" sz="1200" b="0" i="1" smtClean="0">
                              <a:latin typeface="Cambria Math" panose="02040503050406030204" pitchFamily="18" charset="0"/>
                              <a:sym typeface="Helvetica Neue Medium"/>
                            </a:rPr>
                            <m:t>𝑃𝑟𝑒𝑐𝑖𝑠𝑖𝑜𝑛</m:t>
                          </m:r>
                          <m:r>
                            <a:rPr lang="en-US" sz="1200" b="0" i="1" smtClean="0">
                              <a:latin typeface="Cambria Math" panose="02040503050406030204" pitchFamily="18" charset="0"/>
                              <a:sym typeface="Helvetica Neue Medium"/>
                            </a:rPr>
                            <m:t>+</m:t>
                          </m:r>
                          <m:r>
                            <a:rPr lang="en-US" sz="1200" b="0" i="1" smtClean="0">
                              <a:latin typeface="Cambria Math" panose="02040503050406030204" pitchFamily="18" charset="0"/>
                              <a:sym typeface="Helvetica Neue Medium"/>
                            </a:rPr>
                            <m:t>𝑅𝑒𝑐𝑎𝑙𝑙</m:t>
                          </m:r>
                        </m:den>
                      </m:f>
                    </m:oMath>
                  </m:oMathPara>
                </a14:m>
                <a:endParaRPr lang="en-US" sz="1200">
                  <a:sym typeface="Helvetica Neue Medium"/>
                </a:endParaRPr>
              </a:p>
              <a:p>
                <a:pPr marL="171450" indent="-171450" defTabSz="825500">
                  <a:buFont typeface="Arial" panose="020B0604020202020204" pitchFamily="34" charset="0"/>
                  <a:buChar char="•"/>
                </a:pPr>
                <a:endParaRPr lang="en-US" sz="1200">
                  <a:sym typeface="Helvetica Neue Medium"/>
                </a:endParaRPr>
              </a:p>
            </p:txBody>
          </p:sp>
        </mc:Choice>
        <mc:Fallback>
          <p:sp>
            <p:nvSpPr>
              <p:cNvPr id="22" name="Rechteck 21">
                <a:extLst>
                  <a:ext uri="{FF2B5EF4-FFF2-40B4-BE49-F238E27FC236}">
                    <a16:creationId xmlns:a16="http://schemas.microsoft.com/office/drawing/2014/main" id="{7205E1AE-7522-401F-AE4B-E4809D85D667}"/>
                  </a:ext>
                </a:extLst>
              </p:cNvPr>
              <p:cNvSpPr>
                <a:spLocks noRot="1" noChangeAspect="1" noMove="1" noResize="1" noEditPoints="1" noAdjustHandles="1" noChangeArrowheads="1" noChangeShapeType="1" noTextEdit="1"/>
              </p:cNvSpPr>
              <p:nvPr/>
            </p:nvSpPr>
            <p:spPr>
              <a:xfrm>
                <a:off x="9392840" y="2654789"/>
                <a:ext cx="2356247" cy="545775"/>
              </a:xfrm>
              <a:prstGeom prst="rect">
                <a:avLst/>
              </a:prstGeom>
              <a:blipFill>
                <a:blip r:embed="rId7"/>
                <a:stretch>
                  <a:fillRect l="-777" r="-777"/>
                </a:stretch>
              </a:blipFill>
              <a:ln w="12700" cap="flat">
                <a:noFill/>
                <a:miter lim="400000"/>
              </a:ln>
              <a:effectLst/>
            </p:spPr>
            <p:txBody>
              <a:bodyPr/>
              <a:lstStyle/>
              <a:p>
                <a:r>
                  <a:rPr lang="en-US">
                    <a:noFill/>
                  </a:rPr>
                  <a:t> </a:t>
                </a:r>
              </a:p>
            </p:txBody>
          </p:sp>
        </mc:Fallback>
      </mc:AlternateContent>
      <p:sp>
        <p:nvSpPr>
          <p:cNvPr id="24" name="Rechteck 23">
            <a:extLst>
              <a:ext uri="{FF2B5EF4-FFF2-40B4-BE49-F238E27FC236}">
                <a16:creationId xmlns:a16="http://schemas.microsoft.com/office/drawing/2014/main" id="{CF475912-4470-539A-ABD4-54DA63EA2FAA}"/>
              </a:ext>
            </a:extLst>
          </p:cNvPr>
          <p:cNvSpPr/>
          <p:nvPr/>
        </p:nvSpPr>
        <p:spPr>
          <a:xfrm>
            <a:off x="9492509" y="3223660"/>
            <a:ext cx="2163632" cy="545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indent="-171450" algn="just" defTabSz="825500">
              <a:buFont typeface="Arial" panose="020B0604020202020204" pitchFamily="34" charset="0"/>
              <a:buChar char="•"/>
            </a:pPr>
            <a:r>
              <a:rPr lang="en-US" sz="1200">
                <a:sym typeface="Helvetica Neue Medium"/>
              </a:rPr>
              <a:t>Balanced measurement of the overall model’s performance in handling both false positives and false negatives.</a:t>
            </a:r>
          </a:p>
        </p:txBody>
      </p:sp>
      <p:sp>
        <p:nvSpPr>
          <p:cNvPr id="30" name="Rechteck 29">
            <a:extLst>
              <a:ext uri="{FF2B5EF4-FFF2-40B4-BE49-F238E27FC236}">
                <a16:creationId xmlns:a16="http://schemas.microsoft.com/office/drawing/2014/main" id="{406FE430-202B-0FA3-300C-F640E7AA5737}"/>
              </a:ext>
            </a:extLst>
          </p:cNvPr>
          <p:cNvSpPr/>
          <p:nvPr/>
        </p:nvSpPr>
        <p:spPr>
          <a:xfrm>
            <a:off x="451155" y="1863129"/>
            <a:ext cx="1585460" cy="1332000"/>
          </a:xfrm>
          <a:prstGeom prst="rect">
            <a:avLst/>
          </a:prstGeom>
          <a:solidFill>
            <a:schemeClr val="accent1">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defTabSz="825500"/>
            <a:r>
              <a:rPr lang="en-US" sz="1200" b="1">
                <a:sym typeface="Helvetica Neue Medium"/>
              </a:rPr>
              <a:t>Definition</a:t>
            </a:r>
          </a:p>
        </p:txBody>
      </p:sp>
      <p:sp>
        <p:nvSpPr>
          <p:cNvPr id="32" name="Rechteck 31">
            <a:extLst>
              <a:ext uri="{FF2B5EF4-FFF2-40B4-BE49-F238E27FC236}">
                <a16:creationId xmlns:a16="http://schemas.microsoft.com/office/drawing/2014/main" id="{FA63270D-6EB6-DA27-B904-6578170779A8}"/>
              </a:ext>
            </a:extLst>
          </p:cNvPr>
          <p:cNvSpPr/>
          <p:nvPr/>
        </p:nvSpPr>
        <p:spPr>
          <a:xfrm>
            <a:off x="436406" y="2497309"/>
            <a:ext cx="2268000" cy="545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indent="-171450" defTabSz="825500">
              <a:buFont typeface="Arial" panose="020B0604020202020204" pitchFamily="34" charset="0"/>
              <a:buChar char="•"/>
            </a:pPr>
            <a:endParaRPr lang="en-US" sz="1200">
              <a:sym typeface="Helvetica Neue Medium"/>
            </a:endParaRPr>
          </a:p>
        </p:txBody>
      </p:sp>
      <p:cxnSp>
        <p:nvCxnSpPr>
          <p:cNvPr id="36" name="Gerader Verbinder 35">
            <a:extLst>
              <a:ext uri="{FF2B5EF4-FFF2-40B4-BE49-F238E27FC236}">
                <a16:creationId xmlns:a16="http://schemas.microsoft.com/office/drawing/2014/main" id="{E6E8529D-3322-7A84-7D6E-3E09CDC9EED4}"/>
              </a:ext>
            </a:extLst>
          </p:cNvPr>
          <p:cNvCxnSpPr>
            <a:cxnSpLocks/>
          </p:cNvCxnSpPr>
          <p:nvPr/>
        </p:nvCxnSpPr>
        <p:spPr>
          <a:xfrm>
            <a:off x="442913" y="3209394"/>
            <a:ext cx="11312681" cy="0"/>
          </a:xfrm>
          <a:prstGeom prst="line">
            <a:avLst/>
          </a:prstGeom>
          <a:noFill/>
          <a:ln w="12700" cap="flat">
            <a:solidFill>
              <a:srgbClr val="000000"/>
            </a:solidFill>
            <a:prstDash val="dash"/>
            <a:miter lim="400000"/>
          </a:ln>
          <a:effectLst/>
          <a:sp3d/>
        </p:spPr>
        <p:style>
          <a:lnRef idx="0">
            <a:scrgbClr r="0" g="0" b="0"/>
          </a:lnRef>
          <a:fillRef idx="0">
            <a:scrgbClr r="0" g="0" b="0"/>
          </a:fillRef>
          <a:effectRef idx="0">
            <a:scrgbClr r="0" g="0" b="0"/>
          </a:effectRef>
          <a:fontRef idx="none"/>
        </p:style>
      </p:cxnSp>
      <p:cxnSp>
        <p:nvCxnSpPr>
          <p:cNvPr id="38" name="Gerader Verbinder 37">
            <a:extLst>
              <a:ext uri="{FF2B5EF4-FFF2-40B4-BE49-F238E27FC236}">
                <a16:creationId xmlns:a16="http://schemas.microsoft.com/office/drawing/2014/main" id="{77042698-65A4-B82C-F51D-8EDFEA9679E7}"/>
              </a:ext>
            </a:extLst>
          </p:cNvPr>
          <p:cNvCxnSpPr>
            <a:cxnSpLocks/>
          </p:cNvCxnSpPr>
          <p:nvPr/>
        </p:nvCxnSpPr>
        <p:spPr>
          <a:xfrm>
            <a:off x="442913" y="1846936"/>
            <a:ext cx="11312681" cy="0"/>
          </a:xfrm>
          <a:prstGeom prst="line">
            <a:avLst/>
          </a:prstGeom>
          <a:noFill/>
          <a:ln w="12700" cap="flat">
            <a:solidFill>
              <a:srgbClr val="000000"/>
            </a:solidFill>
            <a:prstDash val="dash"/>
            <a:miter lim="400000"/>
          </a:ln>
          <a:effectLst/>
          <a:sp3d/>
        </p:spPr>
        <p:style>
          <a:lnRef idx="0">
            <a:scrgbClr r="0" g="0" b="0"/>
          </a:lnRef>
          <a:fillRef idx="0">
            <a:scrgbClr r="0" g="0" b="0"/>
          </a:fillRef>
          <a:effectRef idx="0">
            <a:scrgbClr r="0" g="0" b="0"/>
          </a:effectRef>
          <a:fontRef idx="none"/>
        </p:style>
      </p:cxnSp>
      <mc:AlternateContent xmlns:mc="http://schemas.openxmlformats.org/markup-compatibility/2006">
        <mc:Choice xmlns:a14="http://schemas.microsoft.com/office/drawing/2010/main" Requires="a14">
          <p:sp>
            <p:nvSpPr>
              <p:cNvPr id="40" name="Rechteck 39">
                <a:extLst>
                  <a:ext uri="{FF2B5EF4-FFF2-40B4-BE49-F238E27FC236}">
                    <a16:creationId xmlns:a16="http://schemas.microsoft.com/office/drawing/2014/main" id="{7C7F735B-8C58-674F-136E-A353AC0A85D7}"/>
                  </a:ext>
                </a:extLst>
              </p:cNvPr>
              <p:cNvSpPr/>
              <p:nvPr/>
            </p:nvSpPr>
            <p:spPr>
              <a:xfrm>
                <a:off x="2198360" y="2684119"/>
                <a:ext cx="2268000" cy="545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defTabSz="825500"/>
                <a14:m>
                  <m:oMathPara xmlns:m="http://schemas.openxmlformats.org/officeDocument/2006/math">
                    <m:oMathParaPr>
                      <m:jc m:val="centerGroup"/>
                    </m:oMathParaPr>
                    <m:oMath xmlns:m="http://schemas.openxmlformats.org/officeDocument/2006/math">
                      <m:r>
                        <a:rPr lang="en-US" sz="1200" b="0" i="1" smtClean="0">
                          <a:latin typeface="Cambria Math" panose="02040503050406030204" pitchFamily="18" charset="0"/>
                          <a:sym typeface="Helvetica Neue Medium"/>
                        </a:rPr>
                        <m:t>𝐴𝑐𝑐𝑢𝑟𝑎𝑐𝑦</m:t>
                      </m:r>
                      <m:r>
                        <a:rPr lang="en-US" sz="1200" b="0" i="1" smtClean="0">
                          <a:latin typeface="Cambria Math" panose="02040503050406030204" pitchFamily="18" charset="0"/>
                          <a:sym typeface="Helvetica Neue Medium"/>
                        </a:rPr>
                        <m:t>=</m:t>
                      </m:r>
                      <m:f>
                        <m:fPr>
                          <m:ctrlPr>
                            <a:rPr lang="pt-PT" sz="1200" i="1" smtClean="0">
                              <a:latin typeface="Cambria Math" panose="02040503050406030204" pitchFamily="18" charset="0"/>
                              <a:sym typeface="Helvetica Neue Medium"/>
                            </a:rPr>
                          </m:ctrlPr>
                        </m:fPr>
                        <m:num>
                          <m:r>
                            <a:rPr lang="en-US" sz="1200" b="0" i="1" smtClean="0">
                              <a:latin typeface="Cambria Math" panose="02040503050406030204" pitchFamily="18" charset="0"/>
                              <a:sym typeface="Helvetica Neue Medium"/>
                            </a:rPr>
                            <m:t>𝑇𝑃</m:t>
                          </m:r>
                          <m:r>
                            <a:rPr lang="en-US" sz="1200" b="0" i="1" smtClean="0">
                              <a:latin typeface="Cambria Math" panose="02040503050406030204" pitchFamily="18" charset="0"/>
                              <a:sym typeface="Helvetica Neue Medium"/>
                            </a:rPr>
                            <m:t>+</m:t>
                          </m:r>
                          <m:r>
                            <a:rPr lang="en-US" sz="1200" b="0" i="1" smtClean="0">
                              <a:latin typeface="Cambria Math" panose="02040503050406030204" pitchFamily="18" charset="0"/>
                              <a:sym typeface="Helvetica Neue Medium"/>
                            </a:rPr>
                            <m:t>𝑇𝑁</m:t>
                          </m:r>
                        </m:num>
                        <m:den>
                          <m:r>
                            <a:rPr lang="en-US" sz="1200" b="0" i="1" smtClean="0">
                              <a:latin typeface="Cambria Math" panose="02040503050406030204" pitchFamily="18" charset="0"/>
                              <a:sym typeface="Helvetica Neue Medium"/>
                            </a:rPr>
                            <m:t>𝑇𝑃</m:t>
                          </m:r>
                          <m:r>
                            <a:rPr lang="en-US" sz="1200" b="0" i="1" smtClean="0">
                              <a:latin typeface="Cambria Math" panose="02040503050406030204" pitchFamily="18" charset="0"/>
                              <a:sym typeface="Helvetica Neue Medium"/>
                            </a:rPr>
                            <m:t>+</m:t>
                          </m:r>
                          <m:r>
                            <a:rPr lang="en-US" sz="1200" b="0" i="1" smtClean="0">
                              <a:latin typeface="Cambria Math" panose="02040503050406030204" pitchFamily="18" charset="0"/>
                              <a:sym typeface="Helvetica Neue Medium"/>
                            </a:rPr>
                            <m:t>𝑇𝑁</m:t>
                          </m:r>
                          <m:r>
                            <a:rPr lang="en-US" sz="1200" b="0" i="1" smtClean="0">
                              <a:latin typeface="Cambria Math" panose="02040503050406030204" pitchFamily="18" charset="0"/>
                              <a:sym typeface="Helvetica Neue Medium"/>
                            </a:rPr>
                            <m:t>+</m:t>
                          </m:r>
                          <m:r>
                            <a:rPr lang="en-US" sz="1200" b="0" i="1" smtClean="0">
                              <a:latin typeface="Cambria Math" panose="02040503050406030204" pitchFamily="18" charset="0"/>
                              <a:sym typeface="Helvetica Neue Medium"/>
                            </a:rPr>
                            <m:t>𝐹𝑃</m:t>
                          </m:r>
                          <m:r>
                            <a:rPr lang="en-US" sz="1200" b="0" i="1" smtClean="0">
                              <a:latin typeface="Cambria Math" panose="02040503050406030204" pitchFamily="18" charset="0"/>
                              <a:sym typeface="Helvetica Neue Medium"/>
                            </a:rPr>
                            <m:t>+</m:t>
                          </m:r>
                          <m:r>
                            <a:rPr lang="en-US" sz="1200" b="0" i="1" smtClean="0">
                              <a:latin typeface="Cambria Math" panose="02040503050406030204" pitchFamily="18" charset="0"/>
                              <a:sym typeface="Helvetica Neue Medium"/>
                            </a:rPr>
                            <m:t>𝐹𝑁</m:t>
                          </m:r>
                        </m:den>
                      </m:f>
                    </m:oMath>
                  </m:oMathPara>
                </a14:m>
                <a:endParaRPr lang="en-US" sz="1200">
                  <a:sym typeface="Helvetica Neue Medium"/>
                </a:endParaRPr>
              </a:p>
            </p:txBody>
          </p:sp>
        </mc:Choice>
        <mc:Fallback>
          <p:sp>
            <p:nvSpPr>
              <p:cNvPr id="40" name="Rechteck 39">
                <a:extLst>
                  <a:ext uri="{FF2B5EF4-FFF2-40B4-BE49-F238E27FC236}">
                    <a16:creationId xmlns:a16="http://schemas.microsoft.com/office/drawing/2014/main" id="{7C7F735B-8C58-674F-136E-A353AC0A85D7}"/>
                  </a:ext>
                </a:extLst>
              </p:cNvPr>
              <p:cNvSpPr>
                <a:spLocks noRot="1" noChangeAspect="1" noMove="1" noResize="1" noEditPoints="1" noAdjustHandles="1" noChangeArrowheads="1" noChangeShapeType="1" noTextEdit="1"/>
              </p:cNvSpPr>
              <p:nvPr/>
            </p:nvSpPr>
            <p:spPr>
              <a:xfrm>
                <a:off x="2198360" y="2684119"/>
                <a:ext cx="2268000" cy="545775"/>
              </a:xfrm>
              <a:prstGeom prst="rect">
                <a:avLst/>
              </a:prstGeom>
              <a:blipFill>
                <a:blip r:embed="rId8"/>
                <a:stretch>
                  <a:fillRect l="-1344" r="-269"/>
                </a:stretch>
              </a:blipFill>
              <a:ln w="12700" cap="flat">
                <a:noFill/>
                <a:miter lim="400000"/>
              </a:ln>
              <a:effectLst/>
            </p:spPr>
            <p:txBody>
              <a:bodyPr/>
              <a:lstStyle/>
              <a:p>
                <a:r>
                  <a:rPr lang="en-US">
                    <a:noFill/>
                  </a:rPr>
                  <a:t> </a:t>
                </a:r>
              </a:p>
            </p:txBody>
          </p:sp>
        </mc:Fallback>
      </mc:AlternateContent>
      <p:sp>
        <p:nvSpPr>
          <p:cNvPr id="46" name="Rechteck 45">
            <a:extLst>
              <a:ext uri="{FF2B5EF4-FFF2-40B4-BE49-F238E27FC236}">
                <a16:creationId xmlns:a16="http://schemas.microsoft.com/office/drawing/2014/main" id="{2C5F95BF-70F2-08C9-BE9D-02B9B81A8F56}"/>
              </a:ext>
            </a:extLst>
          </p:cNvPr>
          <p:cNvSpPr/>
          <p:nvPr/>
        </p:nvSpPr>
        <p:spPr>
          <a:xfrm>
            <a:off x="952500" y="5185556"/>
            <a:ext cx="10796588" cy="5040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just" defTabSz="825500" rtl="0" fontAlgn="auto" latinLnBrk="0" hangingPunct="0">
              <a:lnSpc>
                <a:spcPct val="100000"/>
              </a:lnSpc>
              <a:spcBef>
                <a:spcPts val="0"/>
              </a:spcBef>
              <a:spcAft>
                <a:spcPts val="0"/>
              </a:spcAft>
              <a:buClrTx/>
              <a:buSzTx/>
              <a:buFontTx/>
              <a:buNone/>
              <a:tabLst/>
            </a:pPr>
            <a:r>
              <a:rPr kumimoji="0" lang="en-US" sz="1200" b="1" i="0" u="none" strike="noStrike" cap="none" spc="0" normalizeH="0" baseline="0">
                <a:ln>
                  <a:noFill/>
                </a:ln>
                <a:solidFill>
                  <a:schemeClr val="tx1"/>
                </a:solidFill>
                <a:effectLst/>
                <a:uFillTx/>
                <a:latin typeface="+mn-lt"/>
                <a:ea typeface="+mn-ea"/>
                <a:cs typeface="+mn-cs"/>
                <a:sym typeface="Helvetica Neue Medium"/>
              </a:rPr>
              <a:t>In summary, while accuracy gives a general idea of model performance, it does not provide detailed insights into our model's behavior concerning false positives and false negatives. Precision and recall are more informative metrics in medical diagnostics, ensuring that the model is both specific and sensitive to the presence of diseases.</a:t>
            </a:r>
          </a:p>
        </p:txBody>
      </p:sp>
      <p:sp>
        <p:nvSpPr>
          <p:cNvPr id="47" name="Gleichschenkliges Dreieck 46">
            <a:extLst>
              <a:ext uri="{FF2B5EF4-FFF2-40B4-BE49-F238E27FC236}">
                <a16:creationId xmlns:a16="http://schemas.microsoft.com/office/drawing/2014/main" id="{45E19E11-0866-C8B4-34DF-B01960CFBC2C}"/>
              </a:ext>
            </a:extLst>
          </p:cNvPr>
          <p:cNvSpPr/>
          <p:nvPr/>
        </p:nvSpPr>
        <p:spPr>
          <a:xfrm rot="16200000" flipV="1">
            <a:off x="380128" y="5256955"/>
            <a:ext cx="504000" cy="360000"/>
          </a:xfrm>
          <a:prstGeom prst="triangle">
            <a:avLst/>
          </a:prstGeom>
          <a:solidFill>
            <a:schemeClr val="accent1">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6" name="Rechteck 5">
            <a:extLst>
              <a:ext uri="{FF2B5EF4-FFF2-40B4-BE49-F238E27FC236}">
                <a16:creationId xmlns:a16="http://schemas.microsoft.com/office/drawing/2014/main" id="{D35207DA-DB1F-0464-D0FA-C3A6AE55EB6A}"/>
              </a:ext>
            </a:extLst>
          </p:cNvPr>
          <p:cNvSpPr/>
          <p:nvPr/>
        </p:nvSpPr>
        <p:spPr>
          <a:xfrm>
            <a:off x="456070" y="4557524"/>
            <a:ext cx="1585460" cy="468000"/>
          </a:xfrm>
          <a:prstGeom prst="rect">
            <a:avLst/>
          </a:prstGeom>
          <a:solidFill>
            <a:schemeClr val="accent1">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defTabSz="825500"/>
            <a:r>
              <a:rPr lang="en-US" sz="1200" b="1">
                <a:sym typeface="Helvetica Neue Medium"/>
              </a:rPr>
              <a:t>Approach</a:t>
            </a:r>
          </a:p>
        </p:txBody>
      </p:sp>
      <p:cxnSp>
        <p:nvCxnSpPr>
          <p:cNvPr id="8" name="Gerader Verbinder 7">
            <a:extLst>
              <a:ext uri="{FF2B5EF4-FFF2-40B4-BE49-F238E27FC236}">
                <a16:creationId xmlns:a16="http://schemas.microsoft.com/office/drawing/2014/main" id="{AC074316-9A1D-793D-42D2-5EF2C49A8B16}"/>
              </a:ext>
            </a:extLst>
          </p:cNvPr>
          <p:cNvCxnSpPr>
            <a:cxnSpLocks/>
          </p:cNvCxnSpPr>
          <p:nvPr/>
        </p:nvCxnSpPr>
        <p:spPr>
          <a:xfrm>
            <a:off x="442913" y="4555656"/>
            <a:ext cx="11312681" cy="0"/>
          </a:xfrm>
          <a:prstGeom prst="line">
            <a:avLst/>
          </a:prstGeom>
          <a:noFill/>
          <a:ln w="12700" cap="flat">
            <a:solidFill>
              <a:srgbClr val="000000"/>
            </a:solidFill>
            <a:prstDash val="dash"/>
            <a:miter lim="400000"/>
          </a:ln>
          <a:effectLst/>
          <a:sp3d/>
        </p:spPr>
        <p:style>
          <a:lnRef idx="0">
            <a:scrgbClr r="0" g="0" b="0"/>
          </a:lnRef>
          <a:fillRef idx="0">
            <a:scrgbClr r="0" g="0" b="0"/>
          </a:fillRef>
          <a:effectRef idx="0">
            <a:scrgbClr r="0" g="0" b="0"/>
          </a:effectRef>
          <a:fontRef idx="none"/>
        </p:style>
      </p:cxnSp>
      <p:sp>
        <p:nvSpPr>
          <p:cNvPr id="13" name="Rechteck 12">
            <a:extLst>
              <a:ext uri="{FF2B5EF4-FFF2-40B4-BE49-F238E27FC236}">
                <a16:creationId xmlns:a16="http://schemas.microsoft.com/office/drawing/2014/main" id="{485810BB-492C-C08D-421F-E1380FD62075}"/>
              </a:ext>
            </a:extLst>
          </p:cNvPr>
          <p:cNvSpPr/>
          <p:nvPr/>
        </p:nvSpPr>
        <p:spPr>
          <a:xfrm>
            <a:off x="2198360" y="4557524"/>
            <a:ext cx="9550727" cy="4680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algn="just" defTabSz="825500"/>
            <a:r>
              <a:rPr lang="en-US" sz="1200">
                <a:sym typeface="Helvetica Neue Medium"/>
              </a:rPr>
              <a:t>Rather than evaluating each model immediately after its implementation, we plan to systematically log their performance metrics during training using </a:t>
            </a:r>
            <a:r>
              <a:rPr lang="en-US" sz="1200" err="1">
                <a:sym typeface="Helvetica Neue Medium"/>
              </a:rPr>
              <a:t>TensorBoard</a:t>
            </a:r>
            <a:r>
              <a:rPr lang="en-US" sz="1200">
                <a:sym typeface="Helvetica Neue Medium"/>
              </a:rPr>
              <a:t>. This allows us to efficiently compile and review all relevant performance data at the end of our modeling phase.</a:t>
            </a:r>
          </a:p>
        </p:txBody>
      </p:sp>
      <p:cxnSp>
        <p:nvCxnSpPr>
          <p:cNvPr id="25" name="Gerader Verbinder 24">
            <a:extLst>
              <a:ext uri="{FF2B5EF4-FFF2-40B4-BE49-F238E27FC236}">
                <a16:creationId xmlns:a16="http://schemas.microsoft.com/office/drawing/2014/main" id="{D3D66B63-42E4-91A9-FE39-090A8AA58BEF}"/>
              </a:ext>
            </a:extLst>
          </p:cNvPr>
          <p:cNvCxnSpPr>
            <a:cxnSpLocks/>
          </p:cNvCxnSpPr>
          <p:nvPr/>
        </p:nvCxnSpPr>
        <p:spPr>
          <a:xfrm>
            <a:off x="9404262" y="1550868"/>
            <a:ext cx="0" cy="3024000"/>
          </a:xfrm>
          <a:prstGeom prst="line">
            <a:avLst/>
          </a:prstGeom>
          <a:noFill/>
          <a:ln w="12700" cap="flat">
            <a:solidFill>
              <a:schemeClr val="bg1"/>
            </a:solidFill>
            <a:prstDash val="dash"/>
            <a:miter lim="400000"/>
          </a:ln>
          <a:effectLst/>
          <a:sp3d/>
        </p:spPr>
        <p:style>
          <a:lnRef idx="0">
            <a:scrgbClr r="0" g="0" b="0"/>
          </a:lnRef>
          <a:fillRef idx="0">
            <a:scrgbClr r="0" g="0" b="0"/>
          </a:fillRef>
          <a:effectRef idx="0">
            <a:scrgbClr r="0" g="0" b="0"/>
          </a:effectRef>
          <a:fontRef idx="none"/>
        </p:style>
      </p:cxnSp>
      <p:cxnSp>
        <p:nvCxnSpPr>
          <p:cNvPr id="27" name="Gerader Verbinder 26">
            <a:extLst>
              <a:ext uri="{FF2B5EF4-FFF2-40B4-BE49-F238E27FC236}">
                <a16:creationId xmlns:a16="http://schemas.microsoft.com/office/drawing/2014/main" id="{3A44C213-7644-17B7-F61F-B2E890C67440}"/>
              </a:ext>
            </a:extLst>
          </p:cNvPr>
          <p:cNvCxnSpPr>
            <a:cxnSpLocks/>
          </p:cNvCxnSpPr>
          <p:nvPr/>
        </p:nvCxnSpPr>
        <p:spPr>
          <a:xfrm>
            <a:off x="6969602" y="1550868"/>
            <a:ext cx="0" cy="3024000"/>
          </a:xfrm>
          <a:prstGeom prst="line">
            <a:avLst/>
          </a:prstGeom>
          <a:noFill/>
          <a:ln w="12700" cap="flat">
            <a:solidFill>
              <a:schemeClr val="bg1"/>
            </a:solidFill>
            <a:prstDash val="dash"/>
            <a:miter lim="400000"/>
          </a:ln>
          <a:effectLst/>
          <a:sp3d/>
        </p:spPr>
        <p:style>
          <a:lnRef idx="0">
            <a:scrgbClr r="0" g="0" b="0"/>
          </a:lnRef>
          <a:fillRef idx="0">
            <a:scrgbClr r="0" g="0" b="0"/>
          </a:fillRef>
          <a:effectRef idx="0">
            <a:scrgbClr r="0" g="0" b="0"/>
          </a:effectRef>
          <a:fontRef idx="none"/>
        </p:style>
      </p:cxnSp>
      <p:cxnSp>
        <p:nvCxnSpPr>
          <p:cNvPr id="28" name="Gerader Verbinder 27">
            <a:extLst>
              <a:ext uri="{FF2B5EF4-FFF2-40B4-BE49-F238E27FC236}">
                <a16:creationId xmlns:a16="http://schemas.microsoft.com/office/drawing/2014/main" id="{B1146DBD-36B1-555A-4F41-E5FC0241657B}"/>
              </a:ext>
            </a:extLst>
          </p:cNvPr>
          <p:cNvCxnSpPr>
            <a:cxnSpLocks/>
          </p:cNvCxnSpPr>
          <p:nvPr/>
        </p:nvCxnSpPr>
        <p:spPr>
          <a:xfrm>
            <a:off x="4534942" y="1550868"/>
            <a:ext cx="0" cy="3024000"/>
          </a:xfrm>
          <a:prstGeom prst="line">
            <a:avLst/>
          </a:prstGeom>
          <a:noFill/>
          <a:ln w="12700" cap="flat">
            <a:solidFill>
              <a:schemeClr val="bg1"/>
            </a:solidFill>
            <a:prstDash val="dash"/>
            <a:miter lim="400000"/>
          </a:ln>
          <a:effectLst/>
          <a:sp3d/>
        </p:spPr>
        <p:style>
          <a:lnRef idx="0">
            <a:scrgbClr r="0" g="0" b="0"/>
          </a:lnRef>
          <a:fillRef idx="0">
            <a:scrgbClr r="0" g="0" b="0"/>
          </a:fillRef>
          <a:effectRef idx="0">
            <a:scrgbClr r="0" g="0" b="0"/>
          </a:effectRef>
          <a:fontRef idx="none"/>
        </p:style>
      </p:cxnSp>
      <p:sp>
        <p:nvSpPr>
          <p:cNvPr id="23" name="AutoShape 2" descr="Create a simple, modern logo for a bio-company called 'CellVision Diagnostics' that focuses on blood cells. Use elements related to blood cells and medical diagnostics. Incorporate red and white colors, and use a clean, professional font for the company name. Ensure the spelling is correct.">
            <a:extLst>
              <a:ext uri="{FF2B5EF4-FFF2-40B4-BE49-F238E27FC236}">
                <a16:creationId xmlns:a16="http://schemas.microsoft.com/office/drawing/2014/main" id="{CAB6B5FC-98CB-CA99-6E8F-DF69A7F043A1}"/>
              </a:ext>
            </a:extLst>
          </p:cNvPr>
          <p:cNvSpPr>
            <a:spLocks noChangeAspect="1" noChangeArrowheads="1"/>
          </p:cNvSpPr>
          <p:nvPr/>
        </p:nvSpPr>
        <p:spPr bwMode="auto">
          <a:xfrm>
            <a:off x="2667000" y="0"/>
            <a:ext cx="6858000" cy="6858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7093149"/>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DFD32D-6508-96B2-E7B9-0B50D3FAB32B}"/>
              </a:ext>
            </a:extLst>
          </p:cNvPr>
          <p:cNvSpPr>
            <a:spLocks noGrp="1"/>
          </p:cNvSpPr>
          <p:nvPr>
            <p:ph type="body" sz="quarter" idx="14"/>
          </p:nvPr>
        </p:nvSpPr>
        <p:spPr/>
        <p:txBody>
          <a:bodyPr/>
          <a:lstStyle/>
          <a:p>
            <a:r>
              <a:rPr lang="en-US"/>
              <a:t>Results - Training</a:t>
            </a:r>
          </a:p>
        </p:txBody>
      </p:sp>
      <p:sp>
        <p:nvSpPr>
          <p:cNvPr id="3" name="Text Placeholder 2">
            <a:extLst>
              <a:ext uri="{FF2B5EF4-FFF2-40B4-BE49-F238E27FC236}">
                <a16:creationId xmlns:a16="http://schemas.microsoft.com/office/drawing/2014/main" id="{6D589C28-4250-EB81-2BF8-21E0B631118C}"/>
              </a:ext>
            </a:extLst>
          </p:cNvPr>
          <p:cNvSpPr>
            <a:spLocks noGrp="1"/>
          </p:cNvSpPr>
          <p:nvPr>
            <p:ph type="body" sz="quarter" idx="15"/>
          </p:nvPr>
        </p:nvSpPr>
        <p:spPr/>
        <p:txBody>
          <a:bodyPr/>
          <a:lstStyle/>
          <a:p>
            <a:r>
              <a:rPr lang="en-US"/>
              <a:t>Performance of the best model</a:t>
            </a:r>
          </a:p>
        </p:txBody>
      </p:sp>
      <p:graphicFrame>
        <p:nvGraphicFramePr>
          <p:cNvPr id="7" name="Table 6">
            <a:extLst>
              <a:ext uri="{FF2B5EF4-FFF2-40B4-BE49-F238E27FC236}">
                <a16:creationId xmlns:a16="http://schemas.microsoft.com/office/drawing/2014/main" id="{8E6D05DA-6799-4773-E750-23E1C40BA5A5}"/>
              </a:ext>
            </a:extLst>
          </p:cNvPr>
          <p:cNvGraphicFramePr>
            <a:graphicFrameLocks noGrp="1"/>
          </p:cNvGraphicFramePr>
          <p:nvPr>
            <p:extLst>
              <p:ext uri="{D42A27DB-BD31-4B8C-83A1-F6EECF244321}">
                <p14:modId xmlns:p14="http://schemas.microsoft.com/office/powerpoint/2010/main" val="2724536390"/>
              </p:ext>
            </p:extLst>
          </p:nvPr>
        </p:nvGraphicFramePr>
        <p:xfrm>
          <a:off x="461169" y="2743200"/>
          <a:ext cx="4023360" cy="1371600"/>
        </p:xfrm>
        <a:graphic>
          <a:graphicData uri="http://schemas.openxmlformats.org/drawingml/2006/table">
            <a:tbl>
              <a:tblPr firstRow="1" bandRow="1">
                <a:tableStyleId>{5C22544A-7EE6-4342-B048-85BDC9FD1C3A}</a:tableStyleId>
              </a:tblPr>
              <a:tblGrid>
                <a:gridCol w="1280160">
                  <a:extLst>
                    <a:ext uri="{9D8B030D-6E8A-4147-A177-3AD203B41FA5}">
                      <a16:colId xmlns:a16="http://schemas.microsoft.com/office/drawing/2014/main" val="4047816733"/>
                    </a:ext>
                  </a:extLst>
                </a:gridCol>
                <a:gridCol w="914400">
                  <a:extLst>
                    <a:ext uri="{9D8B030D-6E8A-4147-A177-3AD203B41FA5}">
                      <a16:colId xmlns:a16="http://schemas.microsoft.com/office/drawing/2014/main" val="3416857600"/>
                    </a:ext>
                  </a:extLst>
                </a:gridCol>
                <a:gridCol w="914400">
                  <a:extLst>
                    <a:ext uri="{9D8B030D-6E8A-4147-A177-3AD203B41FA5}">
                      <a16:colId xmlns:a16="http://schemas.microsoft.com/office/drawing/2014/main" val="3899347634"/>
                    </a:ext>
                  </a:extLst>
                </a:gridCol>
                <a:gridCol w="914400">
                  <a:extLst>
                    <a:ext uri="{9D8B030D-6E8A-4147-A177-3AD203B41FA5}">
                      <a16:colId xmlns:a16="http://schemas.microsoft.com/office/drawing/2014/main" val="3150529503"/>
                    </a:ext>
                  </a:extLst>
                </a:gridCol>
              </a:tblGrid>
              <a:tr h="274320">
                <a:tc>
                  <a:txBody>
                    <a:bodyPr/>
                    <a:lstStyle/>
                    <a:p>
                      <a:r>
                        <a:rPr lang="en-US" sz="1050" b="1">
                          <a:solidFill>
                            <a:schemeClr val="tx1"/>
                          </a:solidFill>
                        </a:rPr>
                        <a:t>Accuracy = 0.93</a:t>
                      </a:r>
                    </a:p>
                  </a:txBody>
                  <a:tcPr>
                    <a:solidFill>
                      <a:srgbClr val="CDECFF"/>
                    </a:solidFill>
                  </a:tcPr>
                </a:tc>
                <a:tc>
                  <a:txBody>
                    <a:bodyPr/>
                    <a:lstStyle/>
                    <a:p>
                      <a:r>
                        <a:rPr lang="en-US" sz="1050" b="1">
                          <a:solidFill>
                            <a:schemeClr val="tx1"/>
                          </a:solidFill>
                        </a:rPr>
                        <a:t>Precision</a:t>
                      </a:r>
                    </a:p>
                  </a:txBody>
                  <a:tcPr>
                    <a:solidFill>
                      <a:srgbClr val="CDECFF"/>
                    </a:solidFill>
                  </a:tcPr>
                </a:tc>
                <a:tc>
                  <a:txBody>
                    <a:bodyPr/>
                    <a:lstStyle/>
                    <a:p>
                      <a:r>
                        <a:rPr lang="en-US" sz="1050" b="1">
                          <a:solidFill>
                            <a:schemeClr val="tx1"/>
                          </a:solidFill>
                        </a:rPr>
                        <a:t>Recall</a:t>
                      </a:r>
                    </a:p>
                  </a:txBody>
                  <a:tcPr>
                    <a:solidFill>
                      <a:srgbClr val="CDECFF"/>
                    </a:solidFill>
                  </a:tcPr>
                </a:tc>
                <a:tc>
                  <a:txBody>
                    <a:bodyPr/>
                    <a:lstStyle/>
                    <a:p>
                      <a:r>
                        <a:rPr lang="en-US" sz="1050" b="1">
                          <a:solidFill>
                            <a:schemeClr val="tx1"/>
                          </a:solidFill>
                        </a:rPr>
                        <a:t>F1-Score</a:t>
                      </a:r>
                    </a:p>
                  </a:txBody>
                  <a:tcPr>
                    <a:solidFill>
                      <a:srgbClr val="CDECFF"/>
                    </a:solidFill>
                  </a:tcPr>
                </a:tc>
                <a:extLst>
                  <a:ext uri="{0D108BD9-81ED-4DB2-BD59-A6C34878D82A}">
                    <a16:rowId xmlns:a16="http://schemas.microsoft.com/office/drawing/2014/main" val="3585319335"/>
                  </a:ext>
                </a:extLst>
              </a:tr>
              <a:tr h="274320">
                <a:tc>
                  <a:txBody>
                    <a:bodyPr/>
                    <a:lstStyle/>
                    <a:p>
                      <a:r>
                        <a:rPr lang="en-US" sz="1050"/>
                        <a:t>Eosinophil</a:t>
                      </a:r>
                    </a:p>
                  </a:txBody>
                  <a:tcPr>
                    <a:lnB w="9525" cap="flat" cmpd="sng" algn="ctr">
                      <a:solidFill>
                        <a:schemeClr val="tx1"/>
                      </a:solidFill>
                      <a:prstDash val="dash"/>
                      <a:round/>
                      <a:headEnd type="none" w="med" len="med"/>
                      <a:tailEnd type="none" w="med" len="med"/>
                    </a:lnB>
                    <a:solidFill>
                      <a:srgbClr val="CDECFF"/>
                    </a:solidFill>
                  </a:tcPr>
                </a:tc>
                <a:tc>
                  <a:txBody>
                    <a:bodyPr/>
                    <a:lstStyle/>
                    <a:p>
                      <a:r>
                        <a:rPr lang="en-US" sz="1050"/>
                        <a:t>0.86</a:t>
                      </a:r>
                    </a:p>
                  </a:txBody>
                  <a:tcPr>
                    <a:lnB w="9525" cap="flat" cmpd="sng" algn="ctr">
                      <a:solidFill>
                        <a:schemeClr val="tx1"/>
                      </a:solidFill>
                      <a:prstDash val="dash"/>
                      <a:round/>
                      <a:headEnd type="none" w="med" len="med"/>
                      <a:tailEnd type="none" w="med" len="med"/>
                    </a:lnB>
                    <a:solidFill>
                      <a:schemeClr val="bg2"/>
                    </a:solidFill>
                  </a:tcPr>
                </a:tc>
                <a:tc>
                  <a:txBody>
                    <a:bodyPr/>
                    <a:lstStyle/>
                    <a:p>
                      <a:r>
                        <a:rPr lang="en-US" sz="1050"/>
                        <a:t>0.91</a:t>
                      </a:r>
                    </a:p>
                  </a:txBody>
                  <a:tcPr>
                    <a:lnB w="9525" cap="flat" cmpd="sng" algn="ctr">
                      <a:solidFill>
                        <a:schemeClr val="tx1"/>
                      </a:solidFill>
                      <a:prstDash val="dash"/>
                      <a:round/>
                      <a:headEnd type="none" w="med" len="med"/>
                      <a:tailEnd type="none" w="med" len="med"/>
                    </a:lnB>
                    <a:solidFill>
                      <a:schemeClr val="bg2"/>
                    </a:solidFill>
                  </a:tcPr>
                </a:tc>
                <a:tc>
                  <a:txBody>
                    <a:bodyPr/>
                    <a:lstStyle/>
                    <a:p>
                      <a:r>
                        <a:rPr lang="en-US" sz="1050"/>
                        <a:t>0.88</a:t>
                      </a:r>
                    </a:p>
                  </a:txBody>
                  <a:tcPr>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592136380"/>
                  </a:ext>
                </a:extLst>
              </a:tr>
              <a:tr h="274320">
                <a:tc>
                  <a:txBody>
                    <a:bodyPr/>
                    <a:lstStyle/>
                    <a:p>
                      <a:r>
                        <a:rPr lang="en-US" sz="1050"/>
                        <a:t>Lymphocyte</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CDECFF"/>
                    </a:solidFill>
                  </a:tcPr>
                </a:tc>
                <a:tc>
                  <a:txBody>
                    <a:bodyPr/>
                    <a:lstStyle/>
                    <a:p>
                      <a:r>
                        <a:rPr lang="en-US" sz="1050"/>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050"/>
                        <a:t>0.99</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050"/>
                        <a:t>0.99</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4119303229"/>
                  </a:ext>
                </a:extLst>
              </a:tr>
              <a:tr h="274320">
                <a:tc>
                  <a:txBody>
                    <a:bodyPr/>
                    <a:lstStyle/>
                    <a:p>
                      <a:r>
                        <a:rPr lang="en-US" sz="1050"/>
                        <a:t>Monocyte</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CDECFF"/>
                    </a:solidFill>
                  </a:tcPr>
                </a:tc>
                <a:tc>
                  <a:txBody>
                    <a:bodyPr/>
                    <a:lstStyle/>
                    <a:p>
                      <a:r>
                        <a:rPr lang="en-US" sz="1050"/>
                        <a:t>0.97</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050"/>
                        <a:t>0.99</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050"/>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942779283"/>
                  </a:ext>
                </a:extLst>
              </a:tr>
              <a:tr h="274320">
                <a:tc>
                  <a:txBody>
                    <a:bodyPr/>
                    <a:lstStyle/>
                    <a:p>
                      <a:r>
                        <a:rPr lang="en-US" sz="1050"/>
                        <a:t>Neutrophil</a:t>
                      </a:r>
                    </a:p>
                  </a:txBody>
                  <a:tcPr>
                    <a:lnT w="9525" cap="flat" cmpd="sng" algn="ctr">
                      <a:solidFill>
                        <a:schemeClr val="tx1"/>
                      </a:solidFill>
                      <a:prstDash val="dash"/>
                      <a:round/>
                      <a:headEnd type="none" w="med" len="med"/>
                      <a:tailEnd type="none" w="med" len="med"/>
                    </a:lnT>
                    <a:solidFill>
                      <a:srgbClr val="CDECFF"/>
                    </a:solidFill>
                  </a:tcPr>
                </a:tc>
                <a:tc>
                  <a:txBody>
                    <a:bodyPr/>
                    <a:lstStyle/>
                    <a:p>
                      <a:r>
                        <a:rPr lang="en-US" sz="1050"/>
                        <a:t>0.92</a:t>
                      </a:r>
                    </a:p>
                  </a:txBody>
                  <a:tcPr>
                    <a:lnT w="9525" cap="flat" cmpd="sng" algn="ctr">
                      <a:solidFill>
                        <a:schemeClr val="tx1"/>
                      </a:solidFill>
                      <a:prstDash val="dash"/>
                      <a:round/>
                      <a:headEnd type="none" w="med" len="med"/>
                      <a:tailEnd type="none" w="med" len="med"/>
                    </a:lnT>
                    <a:solidFill>
                      <a:schemeClr val="bg2"/>
                    </a:solidFill>
                  </a:tcPr>
                </a:tc>
                <a:tc>
                  <a:txBody>
                    <a:bodyPr/>
                    <a:lstStyle/>
                    <a:p>
                      <a:r>
                        <a:rPr lang="en-US" sz="1050"/>
                        <a:t>0.84</a:t>
                      </a:r>
                    </a:p>
                  </a:txBody>
                  <a:tcPr>
                    <a:lnT w="9525" cap="flat" cmpd="sng" algn="ctr">
                      <a:solidFill>
                        <a:schemeClr val="tx1"/>
                      </a:solidFill>
                      <a:prstDash val="dash"/>
                      <a:round/>
                      <a:headEnd type="none" w="med" len="med"/>
                      <a:tailEnd type="none" w="med" len="med"/>
                    </a:lnT>
                    <a:solidFill>
                      <a:schemeClr val="bg2"/>
                    </a:solidFill>
                  </a:tcPr>
                </a:tc>
                <a:tc>
                  <a:txBody>
                    <a:bodyPr/>
                    <a:lstStyle/>
                    <a:p>
                      <a:r>
                        <a:rPr lang="en-US" sz="1050"/>
                        <a:t>0.88</a:t>
                      </a:r>
                    </a:p>
                  </a:txBody>
                  <a:tcPr>
                    <a:lnT w="9525" cap="flat" cmpd="sng" algn="ctr">
                      <a:solidFill>
                        <a:schemeClr val="tx1"/>
                      </a:solidFill>
                      <a:prstDash val="dash"/>
                      <a:round/>
                      <a:headEnd type="none" w="med" len="med"/>
                      <a:tailEnd type="none" w="med" len="med"/>
                    </a:lnT>
                    <a:solidFill>
                      <a:schemeClr val="bg2"/>
                    </a:solidFill>
                  </a:tcPr>
                </a:tc>
                <a:extLst>
                  <a:ext uri="{0D108BD9-81ED-4DB2-BD59-A6C34878D82A}">
                    <a16:rowId xmlns:a16="http://schemas.microsoft.com/office/drawing/2014/main" val="3553094398"/>
                  </a:ext>
                </a:extLst>
              </a:tr>
            </a:tbl>
          </a:graphicData>
        </a:graphic>
      </p:graphicFrame>
      <p:pic>
        <p:nvPicPr>
          <p:cNvPr id="13" name="Picture 12">
            <a:extLst>
              <a:ext uri="{FF2B5EF4-FFF2-40B4-BE49-F238E27FC236}">
                <a16:creationId xmlns:a16="http://schemas.microsoft.com/office/drawing/2014/main" id="{CBBB806B-F267-BADB-F311-7322D1ABB6B8}"/>
              </a:ext>
            </a:extLst>
          </p:cNvPr>
          <p:cNvPicPr>
            <a:picLocks noChangeAspect="1"/>
          </p:cNvPicPr>
          <p:nvPr/>
        </p:nvPicPr>
        <p:blipFill>
          <a:blip r:embed="rId2"/>
          <a:stretch>
            <a:fillRect/>
          </a:stretch>
        </p:blipFill>
        <p:spPr>
          <a:xfrm>
            <a:off x="6468230" y="1520824"/>
            <a:ext cx="5183654" cy="4176714"/>
          </a:xfrm>
          <a:prstGeom prst="rect">
            <a:avLst/>
          </a:prstGeom>
        </p:spPr>
      </p:pic>
      <p:graphicFrame>
        <p:nvGraphicFramePr>
          <p:cNvPr id="4" name="Table 3">
            <a:extLst>
              <a:ext uri="{FF2B5EF4-FFF2-40B4-BE49-F238E27FC236}">
                <a16:creationId xmlns:a16="http://schemas.microsoft.com/office/drawing/2014/main" id="{CDA6CC90-009B-BB96-926E-3369E0372155}"/>
              </a:ext>
            </a:extLst>
          </p:cNvPr>
          <p:cNvGraphicFramePr>
            <a:graphicFrameLocks noGrp="1"/>
          </p:cNvGraphicFramePr>
          <p:nvPr>
            <p:extLst>
              <p:ext uri="{D42A27DB-BD31-4B8C-83A1-F6EECF244321}">
                <p14:modId xmlns:p14="http://schemas.microsoft.com/office/powerpoint/2010/main" val="1672611632"/>
              </p:ext>
            </p:extLst>
          </p:nvPr>
        </p:nvGraphicFramePr>
        <p:xfrm>
          <a:off x="-11608911" y="2743200"/>
          <a:ext cx="4023360" cy="1371600"/>
        </p:xfrm>
        <a:graphic>
          <a:graphicData uri="http://schemas.openxmlformats.org/drawingml/2006/table">
            <a:tbl>
              <a:tblPr firstRow="1" bandRow="1">
                <a:tableStyleId>{5C22544A-7EE6-4342-B048-85BDC9FD1C3A}</a:tableStyleId>
              </a:tblPr>
              <a:tblGrid>
                <a:gridCol w="1280160">
                  <a:extLst>
                    <a:ext uri="{9D8B030D-6E8A-4147-A177-3AD203B41FA5}">
                      <a16:colId xmlns:a16="http://schemas.microsoft.com/office/drawing/2014/main" val="4047816733"/>
                    </a:ext>
                  </a:extLst>
                </a:gridCol>
                <a:gridCol w="914400">
                  <a:extLst>
                    <a:ext uri="{9D8B030D-6E8A-4147-A177-3AD203B41FA5}">
                      <a16:colId xmlns:a16="http://schemas.microsoft.com/office/drawing/2014/main" val="3416857600"/>
                    </a:ext>
                  </a:extLst>
                </a:gridCol>
                <a:gridCol w="914400">
                  <a:extLst>
                    <a:ext uri="{9D8B030D-6E8A-4147-A177-3AD203B41FA5}">
                      <a16:colId xmlns:a16="http://schemas.microsoft.com/office/drawing/2014/main" val="3899347634"/>
                    </a:ext>
                  </a:extLst>
                </a:gridCol>
                <a:gridCol w="914400">
                  <a:extLst>
                    <a:ext uri="{9D8B030D-6E8A-4147-A177-3AD203B41FA5}">
                      <a16:colId xmlns:a16="http://schemas.microsoft.com/office/drawing/2014/main" val="3150529503"/>
                    </a:ext>
                  </a:extLst>
                </a:gridCol>
              </a:tblGrid>
              <a:tr h="274320">
                <a:tc>
                  <a:txBody>
                    <a:bodyPr/>
                    <a:lstStyle/>
                    <a:p>
                      <a:r>
                        <a:rPr lang="en-US" sz="1050">
                          <a:solidFill>
                            <a:schemeClr val="tx1"/>
                          </a:solidFill>
                        </a:rPr>
                        <a:t>Accuracy = 0.94</a:t>
                      </a:r>
                    </a:p>
                  </a:txBody>
                  <a:tcPr>
                    <a:solidFill>
                      <a:srgbClr val="CDECFF"/>
                    </a:solidFill>
                  </a:tcPr>
                </a:tc>
                <a:tc>
                  <a:txBody>
                    <a:bodyPr/>
                    <a:lstStyle/>
                    <a:p>
                      <a:r>
                        <a:rPr lang="en-US" sz="1050">
                          <a:solidFill>
                            <a:schemeClr val="tx1"/>
                          </a:solidFill>
                        </a:rPr>
                        <a:t>Precision</a:t>
                      </a:r>
                    </a:p>
                  </a:txBody>
                  <a:tcPr>
                    <a:solidFill>
                      <a:srgbClr val="CDECFF"/>
                    </a:solidFill>
                  </a:tcPr>
                </a:tc>
                <a:tc>
                  <a:txBody>
                    <a:bodyPr/>
                    <a:lstStyle/>
                    <a:p>
                      <a:r>
                        <a:rPr lang="en-US" sz="1050">
                          <a:solidFill>
                            <a:schemeClr val="tx1"/>
                          </a:solidFill>
                        </a:rPr>
                        <a:t>Recall</a:t>
                      </a:r>
                    </a:p>
                  </a:txBody>
                  <a:tcPr>
                    <a:solidFill>
                      <a:srgbClr val="CDECFF"/>
                    </a:solidFill>
                  </a:tcPr>
                </a:tc>
                <a:tc>
                  <a:txBody>
                    <a:bodyPr/>
                    <a:lstStyle/>
                    <a:p>
                      <a:r>
                        <a:rPr lang="en-US" sz="1050">
                          <a:solidFill>
                            <a:schemeClr val="tx1"/>
                          </a:solidFill>
                        </a:rPr>
                        <a:t>F1-Score</a:t>
                      </a:r>
                    </a:p>
                  </a:txBody>
                  <a:tcPr>
                    <a:solidFill>
                      <a:srgbClr val="CDECFF"/>
                    </a:solidFill>
                  </a:tcPr>
                </a:tc>
                <a:extLst>
                  <a:ext uri="{0D108BD9-81ED-4DB2-BD59-A6C34878D82A}">
                    <a16:rowId xmlns:a16="http://schemas.microsoft.com/office/drawing/2014/main" val="3585319335"/>
                  </a:ext>
                </a:extLst>
              </a:tr>
              <a:tr h="274320">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Eosinophil</a:t>
                      </a:r>
                    </a:p>
                  </a:txBody>
                  <a:tcPr>
                    <a:lnB w="9525" cap="flat" cmpd="sng" algn="ctr">
                      <a:solidFill>
                        <a:schemeClr val="tx1"/>
                      </a:solidFill>
                      <a:prstDash val="dash"/>
                      <a:round/>
                      <a:headEnd type="none" w="med" len="med"/>
                      <a:tailEnd type="none" w="med" len="med"/>
                    </a:lnB>
                    <a:solidFill>
                      <a:srgbClr val="CDECFF"/>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86</a:t>
                      </a:r>
                    </a:p>
                  </a:txBody>
                  <a:tcPr>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2</a:t>
                      </a:r>
                    </a:p>
                  </a:txBody>
                  <a:tcPr>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89</a:t>
                      </a:r>
                    </a:p>
                  </a:txBody>
                  <a:tcPr>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592136380"/>
                  </a:ext>
                </a:extLst>
              </a:tr>
              <a:tr h="274320">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Lymphocyte</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CDECFF"/>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9</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4119303229"/>
                  </a:ext>
                </a:extLst>
              </a:tr>
              <a:tr h="274320">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Monocyte</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CDECFF"/>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7</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942779283"/>
                  </a:ext>
                </a:extLst>
              </a:tr>
              <a:tr h="274320">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Neutrophil</a:t>
                      </a:r>
                    </a:p>
                  </a:txBody>
                  <a:tcPr>
                    <a:lnT w="9525" cap="flat" cmpd="sng" algn="ctr">
                      <a:solidFill>
                        <a:schemeClr val="tx1"/>
                      </a:solidFill>
                      <a:prstDash val="dash"/>
                      <a:round/>
                      <a:headEnd type="none" w="med" len="med"/>
                      <a:tailEnd type="none" w="med" len="med"/>
                    </a:lnT>
                    <a:solidFill>
                      <a:srgbClr val="CDECFF"/>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3</a:t>
                      </a:r>
                    </a:p>
                  </a:txBody>
                  <a:tcPr>
                    <a:lnT w="9525" cap="flat" cmpd="sng" algn="ctr">
                      <a:solidFill>
                        <a:schemeClr val="tx1"/>
                      </a:solidFill>
                      <a:prstDash val="dash"/>
                      <a:round/>
                      <a:headEnd type="none" w="med" len="med"/>
                      <a:tailEnd type="none" w="med" len="med"/>
                    </a:lnT>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85</a:t>
                      </a:r>
                    </a:p>
                  </a:txBody>
                  <a:tcPr>
                    <a:lnT w="9525" cap="flat" cmpd="sng" algn="ctr">
                      <a:solidFill>
                        <a:schemeClr val="tx1"/>
                      </a:solidFill>
                      <a:prstDash val="dash"/>
                      <a:round/>
                      <a:headEnd type="none" w="med" len="med"/>
                      <a:tailEnd type="none" w="med" len="med"/>
                    </a:lnT>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89</a:t>
                      </a:r>
                    </a:p>
                  </a:txBody>
                  <a:tcPr>
                    <a:lnT w="9525" cap="flat" cmpd="sng" algn="ctr">
                      <a:solidFill>
                        <a:schemeClr val="tx1"/>
                      </a:solidFill>
                      <a:prstDash val="dash"/>
                      <a:round/>
                      <a:headEnd type="none" w="med" len="med"/>
                      <a:tailEnd type="none" w="med" len="med"/>
                    </a:lnT>
                    <a:solidFill>
                      <a:schemeClr val="bg2"/>
                    </a:solidFill>
                  </a:tcPr>
                </a:tc>
                <a:extLst>
                  <a:ext uri="{0D108BD9-81ED-4DB2-BD59-A6C34878D82A}">
                    <a16:rowId xmlns:a16="http://schemas.microsoft.com/office/drawing/2014/main" val="3553094398"/>
                  </a:ext>
                </a:extLst>
              </a:tr>
            </a:tbl>
          </a:graphicData>
        </a:graphic>
      </p:graphicFrame>
      <p:pic>
        <p:nvPicPr>
          <p:cNvPr id="5" name="Picture 4">
            <a:extLst>
              <a:ext uri="{FF2B5EF4-FFF2-40B4-BE49-F238E27FC236}">
                <a16:creationId xmlns:a16="http://schemas.microsoft.com/office/drawing/2014/main" id="{3212FF62-C3A0-9EDC-5142-64A99484AFC6}"/>
              </a:ext>
            </a:extLst>
          </p:cNvPr>
          <p:cNvPicPr>
            <a:picLocks noChangeAspect="1"/>
          </p:cNvPicPr>
          <p:nvPr/>
        </p:nvPicPr>
        <p:blipFill>
          <a:blip r:embed="rId3"/>
          <a:stretch>
            <a:fillRect/>
          </a:stretch>
        </p:blipFill>
        <p:spPr>
          <a:xfrm>
            <a:off x="-5598072" y="1520824"/>
            <a:ext cx="5130030" cy="4176714"/>
          </a:xfrm>
          <a:prstGeom prst="rect">
            <a:avLst/>
          </a:prstGeom>
        </p:spPr>
      </p:pic>
    </p:spTree>
    <p:extLst>
      <p:ext uri="{BB962C8B-B14F-4D97-AF65-F5344CB8AC3E}">
        <p14:creationId xmlns:p14="http://schemas.microsoft.com/office/powerpoint/2010/main" val="60431678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3891F6DC-AE51-E0FF-ADF4-68BAE53312A2}"/>
              </a:ext>
            </a:extLst>
          </p:cNvPr>
          <p:cNvGraphicFramePr>
            <a:graphicFrameLocks noGrp="1"/>
          </p:cNvGraphicFramePr>
          <p:nvPr>
            <p:extLst>
              <p:ext uri="{D42A27DB-BD31-4B8C-83A1-F6EECF244321}">
                <p14:modId xmlns:p14="http://schemas.microsoft.com/office/powerpoint/2010/main" val="2497074068"/>
              </p:ext>
            </p:extLst>
          </p:nvPr>
        </p:nvGraphicFramePr>
        <p:xfrm>
          <a:off x="471329" y="2743200"/>
          <a:ext cx="4023360" cy="1371600"/>
        </p:xfrm>
        <a:graphic>
          <a:graphicData uri="http://schemas.openxmlformats.org/drawingml/2006/table">
            <a:tbl>
              <a:tblPr firstRow="1" bandRow="1">
                <a:tableStyleId>{5C22544A-7EE6-4342-B048-85BDC9FD1C3A}</a:tableStyleId>
              </a:tblPr>
              <a:tblGrid>
                <a:gridCol w="1280160">
                  <a:extLst>
                    <a:ext uri="{9D8B030D-6E8A-4147-A177-3AD203B41FA5}">
                      <a16:colId xmlns:a16="http://schemas.microsoft.com/office/drawing/2014/main" val="4047816733"/>
                    </a:ext>
                  </a:extLst>
                </a:gridCol>
                <a:gridCol w="914400">
                  <a:extLst>
                    <a:ext uri="{9D8B030D-6E8A-4147-A177-3AD203B41FA5}">
                      <a16:colId xmlns:a16="http://schemas.microsoft.com/office/drawing/2014/main" val="3416857600"/>
                    </a:ext>
                  </a:extLst>
                </a:gridCol>
                <a:gridCol w="914400">
                  <a:extLst>
                    <a:ext uri="{9D8B030D-6E8A-4147-A177-3AD203B41FA5}">
                      <a16:colId xmlns:a16="http://schemas.microsoft.com/office/drawing/2014/main" val="3899347634"/>
                    </a:ext>
                  </a:extLst>
                </a:gridCol>
                <a:gridCol w="914400">
                  <a:extLst>
                    <a:ext uri="{9D8B030D-6E8A-4147-A177-3AD203B41FA5}">
                      <a16:colId xmlns:a16="http://schemas.microsoft.com/office/drawing/2014/main" val="3150529503"/>
                    </a:ext>
                  </a:extLst>
                </a:gridCol>
              </a:tblGrid>
              <a:tr h="274320">
                <a:tc>
                  <a:txBody>
                    <a:bodyPr/>
                    <a:lstStyle/>
                    <a:p>
                      <a:r>
                        <a:rPr lang="en-US" sz="1050">
                          <a:solidFill>
                            <a:schemeClr val="tx1"/>
                          </a:solidFill>
                        </a:rPr>
                        <a:t>Accuracy = 0.94</a:t>
                      </a:r>
                    </a:p>
                  </a:txBody>
                  <a:tcPr>
                    <a:solidFill>
                      <a:srgbClr val="CDECFF"/>
                    </a:solidFill>
                  </a:tcPr>
                </a:tc>
                <a:tc>
                  <a:txBody>
                    <a:bodyPr/>
                    <a:lstStyle/>
                    <a:p>
                      <a:r>
                        <a:rPr lang="en-US" sz="1050">
                          <a:solidFill>
                            <a:schemeClr val="tx1"/>
                          </a:solidFill>
                        </a:rPr>
                        <a:t>Precision</a:t>
                      </a:r>
                    </a:p>
                  </a:txBody>
                  <a:tcPr>
                    <a:solidFill>
                      <a:srgbClr val="CDECFF"/>
                    </a:solidFill>
                  </a:tcPr>
                </a:tc>
                <a:tc>
                  <a:txBody>
                    <a:bodyPr/>
                    <a:lstStyle/>
                    <a:p>
                      <a:r>
                        <a:rPr lang="en-US" sz="1050">
                          <a:solidFill>
                            <a:schemeClr val="tx1"/>
                          </a:solidFill>
                        </a:rPr>
                        <a:t>Recall</a:t>
                      </a:r>
                    </a:p>
                  </a:txBody>
                  <a:tcPr>
                    <a:solidFill>
                      <a:srgbClr val="CDECFF"/>
                    </a:solidFill>
                  </a:tcPr>
                </a:tc>
                <a:tc>
                  <a:txBody>
                    <a:bodyPr/>
                    <a:lstStyle/>
                    <a:p>
                      <a:r>
                        <a:rPr lang="en-US" sz="1050">
                          <a:solidFill>
                            <a:schemeClr val="tx1"/>
                          </a:solidFill>
                        </a:rPr>
                        <a:t>F1-Score</a:t>
                      </a:r>
                    </a:p>
                  </a:txBody>
                  <a:tcPr>
                    <a:solidFill>
                      <a:srgbClr val="CDECFF"/>
                    </a:solidFill>
                  </a:tcPr>
                </a:tc>
                <a:extLst>
                  <a:ext uri="{0D108BD9-81ED-4DB2-BD59-A6C34878D82A}">
                    <a16:rowId xmlns:a16="http://schemas.microsoft.com/office/drawing/2014/main" val="3585319335"/>
                  </a:ext>
                </a:extLst>
              </a:tr>
              <a:tr h="274320">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Eosinophil</a:t>
                      </a:r>
                    </a:p>
                  </a:txBody>
                  <a:tcPr>
                    <a:lnB w="9525" cap="flat" cmpd="sng" algn="ctr">
                      <a:solidFill>
                        <a:schemeClr val="tx1"/>
                      </a:solidFill>
                      <a:prstDash val="dash"/>
                      <a:round/>
                      <a:headEnd type="none" w="med" len="med"/>
                      <a:tailEnd type="none" w="med" len="med"/>
                    </a:lnB>
                    <a:solidFill>
                      <a:srgbClr val="CDECFF"/>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86</a:t>
                      </a:r>
                    </a:p>
                  </a:txBody>
                  <a:tcPr>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2</a:t>
                      </a:r>
                    </a:p>
                  </a:txBody>
                  <a:tcPr>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89</a:t>
                      </a:r>
                    </a:p>
                  </a:txBody>
                  <a:tcPr>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592136380"/>
                  </a:ext>
                </a:extLst>
              </a:tr>
              <a:tr h="274320">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Lymphocyte</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CDECFF"/>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9</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4119303229"/>
                  </a:ext>
                </a:extLst>
              </a:tr>
              <a:tr h="274320">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Monocyte</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CDECFF"/>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7</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942779283"/>
                  </a:ext>
                </a:extLst>
              </a:tr>
              <a:tr h="274320">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Neutrophil</a:t>
                      </a:r>
                    </a:p>
                  </a:txBody>
                  <a:tcPr>
                    <a:lnT w="9525" cap="flat" cmpd="sng" algn="ctr">
                      <a:solidFill>
                        <a:schemeClr val="tx1"/>
                      </a:solidFill>
                      <a:prstDash val="dash"/>
                      <a:round/>
                      <a:headEnd type="none" w="med" len="med"/>
                      <a:tailEnd type="none" w="med" len="med"/>
                    </a:lnT>
                    <a:solidFill>
                      <a:srgbClr val="CDECFF"/>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3</a:t>
                      </a:r>
                    </a:p>
                  </a:txBody>
                  <a:tcPr>
                    <a:lnT w="9525" cap="flat" cmpd="sng" algn="ctr">
                      <a:solidFill>
                        <a:schemeClr val="tx1"/>
                      </a:solidFill>
                      <a:prstDash val="dash"/>
                      <a:round/>
                      <a:headEnd type="none" w="med" len="med"/>
                      <a:tailEnd type="none" w="med" len="med"/>
                    </a:lnT>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85</a:t>
                      </a:r>
                    </a:p>
                  </a:txBody>
                  <a:tcPr>
                    <a:lnT w="9525" cap="flat" cmpd="sng" algn="ctr">
                      <a:solidFill>
                        <a:schemeClr val="tx1"/>
                      </a:solidFill>
                      <a:prstDash val="dash"/>
                      <a:round/>
                      <a:headEnd type="none" w="med" len="med"/>
                      <a:tailEnd type="none" w="med" len="med"/>
                    </a:lnT>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89</a:t>
                      </a:r>
                    </a:p>
                  </a:txBody>
                  <a:tcPr>
                    <a:lnT w="9525" cap="flat" cmpd="sng" algn="ctr">
                      <a:solidFill>
                        <a:schemeClr val="tx1"/>
                      </a:solidFill>
                      <a:prstDash val="dash"/>
                      <a:round/>
                      <a:headEnd type="none" w="med" len="med"/>
                      <a:tailEnd type="none" w="med" len="med"/>
                    </a:lnT>
                    <a:solidFill>
                      <a:schemeClr val="bg2"/>
                    </a:solidFill>
                  </a:tcPr>
                </a:tc>
                <a:extLst>
                  <a:ext uri="{0D108BD9-81ED-4DB2-BD59-A6C34878D82A}">
                    <a16:rowId xmlns:a16="http://schemas.microsoft.com/office/drawing/2014/main" val="3553094398"/>
                  </a:ext>
                </a:extLst>
              </a:tr>
            </a:tbl>
          </a:graphicData>
        </a:graphic>
      </p:graphicFrame>
      <p:sp>
        <p:nvSpPr>
          <p:cNvPr id="2" name="Text Placeholder 1">
            <a:extLst>
              <a:ext uri="{FF2B5EF4-FFF2-40B4-BE49-F238E27FC236}">
                <a16:creationId xmlns:a16="http://schemas.microsoft.com/office/drawing/2014/main" id="{89DFD32D-6508-96B2-E7B9-0B50D3FAB32B}"/>
              </a:ext>
            </a:extLst>
          </p:cNvPr>
          <p:cNvSpPr>
            <a:spLocks noGrp="1"/>
          </p:cNvSpPr>
          <p:nvPr>
            <p:ph type="body" sz="quarter" idx="14"/>
          </p:nvPr>
        </p:nvSpPr>
        <p:spPr/>
        <p:txBody>
          <a:bodyPr/>
          <a:lstStyle/>
          <a:p>
            <a:r>
              <a:rPr lang="en-US"/>
              <a:t>Results - Validation</a:t>
            </a:r>
          </a:p>
        </p:txBody>
      </p:sp>
      <p:sp>
        <p:nvSpPr>
          <p:cNvPr id="3" name="Text Placeholder 2">
            <a:extLst>
              <a:ext uri="{FF2B5EF4-FFF2-40B4-BE49-F238E27FC236}">
                <a16:creationId xmlns:a16="http://schemas.microsoft.com/office/drawing/2014/main" id="{6D589C28-4250-EB81-2BF8-21E0B631118C}"/>
              </a:ext>
            </a:extLst>
          </p:cNvPr>
          <p:cNvSpPr>
            <a:spLocks noGrp="1"/>
          </p:cNvSpPr>
          <p:nvPr>
            <p:ph type="body" sz="quarter" idx="15"/>
          </p:nvPr>
        </p:nvSpPr>
        <p:spPr/>
        <p:txBody>
          <a:bodyPr/>
          <a:lstStyle/>
          <a:p>
            <a:r>
              <a:rPr lang="en-US"/>
              <a:t>Performance of the best model</a:t>
            </a:r>
          </a:p>
        </p:txBody>
      </p:sp>
      <p:sp>
        <p:nvSpPr>
          <p:cNvPr id="5" name="Textplatzhalter 2">
            <a:extLst>
              <a:ext uri="{FF2B5EF4-FFF2-40B4-BE49-F238E27FC236}">
                <a16:creationId xmlns:a16="http://schemas.microsoft.com/office/drawing/2014/main" id="{F706001E-44D1-F7B4-1683-4DC11DD8C048}"/>
              </a:ext>
            </a:extLst>
          </p:cNvPr>
          <p:cNvSpPr txBox="1">
            <a:spLocks/>
          </p:cNvSpPr>
          <p:nvPr/>
        </p:nvSpPr>
        <p:spPr>
          <a:xfrm>
            <a:off x="463667" y="2409738"/>
            <a:ext cx="11263418" cy="1151876"/>
          </a:xfrm>
          <a:prstGeom prst="rect">
            <a:avLst/>
          </a:prstGeom>
        </p:spPr>
        <p:txBody>
          <a:bodyPr lIns="91440" tIns="45720" rIns="91440" bIns="45720" anchor="t"/>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endParaRPr lang="en-US"/>
          </a:p>
        </p:txBody>
      </p:sp>
      <p:pic>
        <p:nvPicPr>
          <p:cNvPr id="13" name="Picture 12">
            <a:extLst>
              <a:ext uri="{FF2B5EF4-FFF2-40B4-BE49-F238E27FC236}">
                <a16:creationId xmlns:a16="http://schemas.microsoft.com/office/drawing/2014/main" id="{32C077A5-A9EE-E344-91D2-D013E9E29F2C}"/>
              </a:ext>
            </a:extLst>
          </p:cNvPr>
          <p:cNvPicPr>
            <a:picLocks noChangeAspect="1"/>
          </p:cNvPicPr>
          <p:nvPr/>
        </p:nvPicPr>
        <p:blipFill>
          <a:blip r:embed="rId2"/>
          <a:stretch>
            <a:fillRect/>
          </a:stretch>
        </p:blipFill>
        <p:spPr>
          <a:xfrm>
            <a:off x="6472008" y="1520824"/>
            <a:ext cx="5130030" cy="4176714"/>
          </a:xfrm>
          <a:prstGeom prst="rect">
            <a:avLst/>
          </a:prstGeom>
        </p:spPr>
      </p:pic>
      <p:graphicFrame>
        <p:nvGraphicFramePr>
          <p:cNvPr id="6" name="Table 5">
            <a:extLst>
              <a:ext uri="{FF2B5EF4-FFF2-40B4-BE49-F238E27FC236}">
                <a16:creationId xmlns:a16="http://schemas.microsoft.com/office/drawing/2014/main" id="{A41A6901-BA70-AD2A-AF8A-603060F1C353}"/>
              </a:ext>
            </a:extLst>
          </p:cNvPr>
          <p:cNvGraphicFramePr>
            <a:graphicFrameLocks noGrp="1"/>
          </p:cNvGraphicFramePr>
          <p:nvPr>
            <p:extLst>
              <p:ext uri="{D42A27DB-BD31-4B8C-83A1-F6EECF244321}">
                <p14:modId xmlns:p14="http://schemas.microsoft.com/office/powerpoint/2010/main" val="1260312530"/>
              </p:ext>
            </p:extLst>
          </p:nvPr>
        </p:nvGraphicFramePr>
        <p:xfrm>
          <a:off x="-11893391" y="2743199"/>
          <a:ext cx="4023360" cy="1371600"/>
        </p:xfrm>
        <a:graphic>
          <a:graphicData uri="http://schemas.openxmlformats.org/drawingml/2006/table">
            <a:tbl>
              <a:tblPr firstRow="1" bandRow="1">
                <a:tableStyleId>{5C22544A-7EE6-4342-B048-85BDC9FD1C3A}</a:tableStyleId>
              </a:tblPr>
              <a:tblGrid>
                <a:gridCol w="1280160">
                  <a:extLst>
                    <a:ext uri="{9D8B030D-6E8A-4147-A177-3AD203B41FA5}">
                      <a16:colId xmlns:a16="http://schemas.microsoft.com/office/drawing/2014/main" val="4047816733"/>
                    </a:ext>
                  </a:extLst>
                </a:gridCol>
                <a:gridCol w="914400">
                  <a:extLst>
                    <a:ext uri="{9D8B030D-6E8A-4147-A177-3AD203B41FA5}">
                      <a16:colId xmlns:a16="http://schemas.microsoft.com/office/drawing/2014/main" val="3416857600"/>
                    </a:ext>
                  </a:extLst>
                </a:gridCol>
                <a:gridCol w="914400">
                  <a:extLst>
                    <a:ext uri="{9D8B030D-6E8A-4147-A177-3AD203B41FA5}">
                      <a16:colId xmlns:a16="http://schemas.microsoft.com/office/drawing/2014/main" val="3899347634"/>
                    </a:ext>
                  </a:extLst>
                </a:gridCol>
                <a:gridCol w="914400">
                  <a:extLst>
                    <a:ext uri="{9D8B030D-6E8A-4147-A177-3AD203B41FA5}">
                      <a16:colId xmlns:a16="http://schemas.microsoft.com/office/drawing/2014/main" val="3150529503"/>
                    </a:ext>
                  </a:extLst>
                </a:gridCol>
              </a:tblGrid>
              <a:tr h="274320">
                <a:tc>
                  <a:txBody>
                    <a:bodyPr/>
                    <a:lstStyle/>
                    <a:p>
                      <a:r>
                        <a:rPr lang="en-US" sz="1050">
                          <a:solidFill>
                            <a:schemeClr val="tx1"/>
                          </a:solidFill>
                        </a:rPr>
                        <a:t>Accuracy = 0.76</a:t>
                      </a:r>
                    </a:p>
                  </a:txBody>
                  <a:tcPr>
                    <a:solidFill>
                      <a:srgbClr val="CDECFF"/>
                    </a:solidFill>
                  </a:tcPr>
                </a:tc>
                <a:tc>
                  <a:txBody>
                    <a:bodyPr/>
                    <a:lstStyle/>
                    <a:p>
                      <a:r>
                        <a:rPr lang="en-US" sz="1050">
                          <a:solidFill>
                            <a:schemeClr val="tx1"/>
                          </a:solidFill>
                        </a:rPr>
                        <a:t>Precision</a:t>
                      </a:r>
                    </a:p>
                  </a:txBody>
                  <a:tcPr>
                    <a:solidFill>
                      <a:srgbClr val="CDECFF"/>
                    </a:solidFill>
                  </a:tcPr>
                </a:tc>
                <a:tc>
                  <a:txBody>
                    <a:bodyPr/>
                    <a:lstStyle/>
                    <a:p>
                      <a:r>
                        <a:rPr lang="en-US" sz="1050">
                          <a:solidFill>
                            <a:schemeClr val="tx1"/>
                          </a:solidFill>
                        </a:rPr>
                        <a:t>Recall</a:t>
                      </a:r>
                    </a:p>
                  </a:txBody>
                  <a:tcPr>
                    <a:solidFill>
                      <a:srgbClr val="CDECFF"/>
                    </a:solidFill>
                  </a:tcPr>
                </a:tc>
                <a:tc>
                  <a:txBody>
                    <a:bodyPr/>
                    <a:lstStyle/>
                    <a:p>
                      <a:r>
                        <a:rPr lang="en-US" sz="1050">
                          <a:solidFill>
                            <a:schemeClr val="tx1"/>
                          </a:solidFill>
                        </a:rPr>
                        <a:t>F1-Score</a:t>
                      </a:r>
                    </a:p>
                  </a:txBody>
                  <a:tcPr>
                    <a:solidFill>
                      <a:srgbClr val="CDECFF"/>
                    </a:solidFill>
                  </a:tcPr>
                </a:tc>
                <a:extLst>
                  <a:ext uri="{0D108BD9-81ED-4DB2-BD59-A6C34878D82A}">
                    <a16:rowId xmlns:a16="http://schemas.microsoft.com/office/drawing/2014/main" val="3585319335"/>
                  </a:ext>
                </a:extLst>
              </a:tr>
              <a:tr h="274320">
                <a:tc>
                  <a:txBody>
                    <a:bodyPr/>
                    <a:lstStyle/>
                    <a:p>
                      <a:r>
                        <a:rPr lang="en-US" sz="1050"/>
                        <a:t>Eosinophil</a:t>
                      </a:r>
                    </a:p>
                  </a:txBody>
                  <a:tcPr>
                    <a:lnB w="9525" cap="flat" cmpd="sng" algn="ctr">
                      <a:solidFill>
                        <a:schemeClr val="tx1"/>
                      </a:solidFill>
                      <a:prstDash val="dash"/>
                      <a:round/>
                      <a:headEnd type="none" w="med" len="med"/>
                      <a:tailEnd type="none" w="med" len="med"/>
                    </a:lnB>
                    <a:solidFill>
                      <a:srgbClr val="CDECFF"/>
                    </a:solidFill>
                  </a:tcPr>
                </a:tc>
                <a:tc>
                  <a:txBody>
                    <a:bodyPr/>
                    <a:lstStyle/>
                    <a:p>
                      <a:r>
                        <a:rPr lang="en-US" sz="1050"/>
                        <a:t>0.57</a:t>
                      </a:r>
                    </a:p>
                  </a:txBody>
                  <a:tcPr>
                    <a:lnB w="9525" cap="flat" cmpd="sng" algn="ctr">
                      <a:solidFill>
                        <a:schemeClr val="tx1"/>
                      </a:solidFill>
                      <a:prstDash val="dash"/>
                      <a:round/>
                      <a:headEnd type="none" w="med" len="med"/>
                      <a:tailEnd type="none" w="med" len="med"/>
                    </a:lnB>
                    <a:solidFill>
                      <a:schemeClr val="bg2"/>
                    </a:solidFill>
                  </a:tcPr>
                </a:tc>
                <a:tc>
                  <a:txBody>
                    <a:bodyPr/>
                    <a:lstStyle/>
                    <a:p>
                      <a:r>
                        <a:rPr lang="en-US" sz="1050"/>
                        <a:t>0.86</a:t>
                      </a:r>
                    </a:p>
                  </a:txBody>
                  <a:tcPr>
                    <a:lnB w="9525" cap="flat" cmpd="sng" algn="ctr">
                      <a:solidFill>
                        <a:schemeClr val="tx1"/>
                      </a:solidFill>
                      <a:prstDash val="dash"/>
                      <a:round/>
                      <a:headEnd type="none" w="med" len="med"/>
                      <a:tailEnd type="none" w="med" len="med"/>
                    </a:lnB>
                    <a:solidFill>
                      <a:schemeClr val="bg2"/>
                    </a:solidFill>
                  </a:tcPr>
                </a:tc>
                <a:tc>
                  <a:txBody>
                    <a:bodyPr/>
                    <a:lstStyle/>
                    <a:p>
                      <a:r>
                        <a:rPr lang="en-US" sz="1050"/>
                        <a:t>0.69</a:t>
                      </a:r>
                    </a:p>
                  </a:txBody>
                  <a:tcPr>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592136380"/>
                  </a:ext>
                </a:extLst>
              </a:tr>
              <a:tr h="274320">
                <a:tc>
                  <a:txBody>
                    <a:bodyPr/>
                    <a:lstStyle/>
                    <a:p>
                      <a:r>
                        <a:rPr lang="en-US" sz="1050"/>
                        <a:t>Lymphocyte</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CDECFF"/>
                    </a:solidFill>
                  </a:tcPr>
                </a:tc>
                <a:tc>
                  <a:txBody>
                    <a:bodyPr/>
                    <a:lstStyle/>
                    <a:p>
                      <a:r>
                        <a:rPr lang="en-US" sz="1050"/>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050"/>
                        <a:t>0.99</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050"/>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4119303229"/>
                  </a:ext>
                </a:extLst>
              </a:tr>
              <a:tr h="274320">
                <a:tc>
                  <a:txBody>
                    <a:bodyPr/>
                    <a:lstStyle/>
                    <a:p>
                      <a:r>
                        <a:rPr lang="en-US" sz="1050"/>
                        <a:t>Monocyte</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CDECFF"/>
                    </a:solidFill>
                  </a:tcPr>
                </a:tc>
                <a:tc>
                  <a:txBody>
                    <a:bodyPr/>
                    <a:lstStyle/>
                    <a:p>
                      <a:r>
                        <a:rPr lang="en-US" sz="1050"/>
                        <a:t>0.97</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050"/>
                        <a:t>0.42</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050"/>
                        <a:t>0.5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942779283"/>
                  </a:ext>
                </a:extLst>
              </a:tr>
              <a:tr h="274320">
                <a:tc>
                  <a:txBody>
                    <a:bodyPr/>
                    <a:lstStyle/>
                    <a:p>
                      <a:r>
                        <a:rPr lang="en-US" sz="1050"/>
                        <a:t>Neutrophil</a:t>
                      </a:r>
                    </a:p>
                  </a:txBody>
                  <a:tcPr>
                    <a:lnT w="9525" cap="flat" cmpd="sng" algn="ctr">
                      <a:solidFill>
                        <a:schemeClr val="tx1"/>
                      </a:solidFill>
                      <a:prstDash val="dash"/>
                      <a:round/>
                      <a:headEnd type="none" w="med" len="med"/>
                      <a:tailEnd type="none" w="med" len="med"/>
                    </a:lnT>
                    <a:solidFill>
                      <a:srgbClr val="CDECFF"/>
                    </a:solidFill>
                  </a:tcPr>
                </a:tc>
                <a:tc>
                  <a:txBody>
                    <a:bodyPr/>
                    <a:lstStyle/>
                    <a:p>
                      <a:r>
                        <a:rPr lang="en-US" sz="1050"/>
                        <a:t>0.74</a:t>
                      </a:r>
                    </a:p>
                  </a:txBody>
                  <a:tcPr>
                    <a:lnT w="9525" cap="flat" cmpd="sng" algn="ctr">
                      <a:solidFill>
                        <a:schemeClr val="tx1"/>
                      </a:solidFill>
                      <a:prstDash val="dash"/>
                      <a:round/>
                      <a:headEnd type="none" w="med" len="med"/>
                      <a:tailEnd type="none" w="med" len="med"/>
                    </a:lnT>
                    <a:solidFill>
                      <a:schemeClr val="bg2"/>
                    </a:solidFill>
                  </a:tcPr>
                </a:tc>
                <a:tc>
                  <a:txBody>
                    <a:bodyPr/>
                    <a:lstStyle/>
                    <a:p>
                      <a:r>
                        <a:rPr lang="en-US" sz="1050"/>
                        <a:t>0.77</a:t>
                      </a:r>
                    </a:p>
                  </a:txBody>
                  <a:tcPr>
                    <a:lnT w="9525" cap="flat" cmpd="sng" algn="ctr">
                      <a:solidFill>
                        <a:schemeClr val="tx1"/>
                      </a:solidFill>
                      <a:prstDash val="dash"/>
                      <a:round/>
                      <a:headEnd type="none" w="med" len="med"/>
                      <a:tailEnd type="none" w="med" len="med"/>
                    </a:lnT>
                    <a:solidFill>
                      <a:schemeClr val="bg2"/>
                    </a:solidFill>
                  </a:tcPr>
                </a:tc>
                <a:tc>
                  <a:txBody>
                    <a:bodyPr/>
                    <a:lstStyle/>
                    <a:p>
                      <a:r>
                        <a:rPr lang="en-US" sz="1050"/>
                        <a:t>0.75</a:t>
                      </a:r>
                    </a:p>
                  </a:txBody>
                  <a:tcPr>
                    <a:lnT w="9525" cap="flat" cmpd="sng" algn="ctr">
                      <a:solidFill>
                        <a:schemeClr val="tx1"/>
                      </a:solidFill>
                      <a:prstDash val="dash"/>
                      <a:round/>
                      <a:headEnd type="none" w="med" len="med"/>
                      <a:tailEnd type="none" w="med" len="med"/>
                    </a:lnT>
                    <a:solidFill>
                      <a:schemeClr val="bg2"/>
                    </a:solidFill>
                  </a:tcPr>
                </a:tc>
                <a:extLst>
                  <a:ext uri="{0D108BD9-81ED-4DB2-BD59-A6C34878D82A}">
                    <a16:rowId xmlns:a16="http://schemas.microsoft.com/office/drawing/2014/main" val="3553094398"/>
                  </a:ext>
                </a:extLst>
              </a:tr>
            </a:tbl>
          </a:graphicData>
        </a:graphic>
      </p:graphicFrame>
      <p:pic>
        <p:nvPicPr>
          <p:cNvPr id="8" name="Picture 7">
            <a:extLst>
              <a:ext uri="{FF2B5EF4-FFF2-40B4-BE49-F238E27FC236}">
                <a16:creationId xmlns:a16="http://schemas.microsoft.com/office/drawing/2014/main" id="{47F2199D-30A8-7878-03A4-1A6F3D6EE0E4}"/>
              </a:ext>
            </a:extLst>
          </p:cNvPr>
          <p:cNvPicPr>
            <a:picLocks noChangeAspect="1"/>
          </p:cNvPicPr>
          <p:nvPr/>
        </p:nvPicPr>
        <p:blipFill>
          <a:blip r:embed="rId3"/>
          <a:stretch>
            <a:fillRect/>
          </a:stretch>
        </p:blipFill>
        <p:spPr>
          <a:xfrm>
            <a:off x="-5883278" y="1520824"/>
            <a:ext cx="5130029" cy="4176713"/>
          </a:xfrm>
          <a:prstGeom prst="rect">
            <a:avLst/>
          </a:prstGeom>
        </p:spPr>
      </p:pic>
      <p:graphicFrame>
        <p:nvGraphicFramePr>
          <p:cNvPr id="9" name="Table 8">
            <a:extLst>
              <a:ext uri="{FF2B5EF4-FFF2-40B4-BE49-F238E27FC236}">
                <a16:creationId xmlns:a16="http://schemas.microsoft.com/office/drawing/2014/main" id="{1DF95C17-57EB-1FDB-1AA7-3E58D2DC4B24}"/>
              </a:ext>
            </a:extLst>
          </p:cNvPr>
          <p:cNvGraphicFramePr>
            <a:graphicFrameLocks noGrp="1"/>
          </p:cNvGraphicFramePr>
          <p:nvPr>
            <p:extLst>
              <p:ext uri="{D42A27DB-BD31-4B8C-83A1-F6EECF244321}">
                <p14:modId xmlns:p14="http://schemas.microsoft.com/office/powerpoint/2010/main" val="2256688844"/>
              </p:ext>
            </p:extLst>
          </p:nvPr>
        </p:nvGraphicFramePr>
        <p:xfrm>
          <a:off x="13120529" y="2743200"/>
          <a:ext cx="4023360" cy="1371600"/>
        </p:xfrm>
        <a:graphic>
          <a:graphicData uri="http://schemas.openxmlformats.org/drawingml/2006/table">
            <a:tbl>
              <a:tblPr firstRow="1" bandRow="1">
                <a:tableStyleId>{5C22544A-7EE6-4342-B048-85BDC9FD1C3A}</a:tableStyleId>
              </a:tblPr>
              <a:tblGrid>
                <a:gridCol w="1280160">
                  <a:extLst>
                    <a:ext uri="{9D8B030D-6E8A-4147-A177-3AD203B41FA5}">
                      <a16:colId xmlns:a16="http://schemas.microsoft.com/office/drawing/2014/main" val="4047816733"/>
                    </a:ext>
                  </a:extLst>
                </a:gridCol>
                <a:gridCol w="914400">
                  <a:extLst>
                    <a:ext uri="{9D8B030D-6E8A-4147-A177-3AD203B41FA5}">
                      <a16:colId xmlns:a16="http://schemas.microsoft.com/office/drawing/2014/main" val="3416857600"/>
                    </a:ext>
                  </a:extLst>
                </a:gridCol>
                <a:gridCol w="914400">
                  <a:extLst>
                    <a:ext uri="{9D8B030D-6E8A-4147-A177-3AD203B41FA5}">
                      <a16:colId xmlns:a16="http://schemas.microsoft.com/office/drawing/2014/main" val="3899347634"/>
                    </a:ext>
                  </a:extLst>
                </a:gridCol>
                <a:gridCol w="914400">
                  <a:extLst>
                    <a:ext uri="{9D8B030D-6E8A-4147-A177-3AD203B41FA5}">
                      <a16:colId xmlns:a16="http://schemas.microsoft.com/office/drawing/2014/main" val="3150529503"/>
                    </a:ext>
                  </a:extLst>
                </a:gridCol>
              </a:tblGrid>
              <a:tr h="274320">
                <a:tc>
                  <a:txBody>
                    <a:bodyPr/>
                    <a:lstStyle/>
                    <a:p>
                      <a:r>
                        <a:rPr lang="en-US" sz="1050" b="1">
                          <a:solidFill>
                            <a:schemeClr val="tx1"/>
                          </a:solidFill>
                        </a:rPr>
                        <a:t>Accuracy = 0.93</a:t>
                      </a:r>
                    </a:p>
                  </a:txBody>
                  <a:tcPr>
                    <a:solidFill>
                      <a:srgbClr val="CDECFF"/>
                    </a:solidFill>
                  </a:tcPr>
                </a:tc>
                <a:tc>
                  <a:txBody>
                    <a:bodyPr/>
                    <a:lstStyle/>
                    <a:p>
                      <a:r>
                        <a:rPr lang="en-US" sz="1050" b="1">
                          <a:solidFill>
                            <a:schemeClr val="tx1"/>
                          </a:solidFill>
                        </a:rPr>
                        <a:t>Precision</a:t>
                      </a:r>
                    </a:p>
                  </a:txBody>
                  <a:tcPr>
                    <a:solidFill>
                      <a:srgbClr val="CDECFF"/>
                    </a:solidFill>
                  </a:tcPr>
                </a:tc>
                <a:tc>
                  <a:txBody>
                    <a:bodyPr/>
                    <a:lstStyle/>
                    <a:p>
                      <a:r>
                        <a:rPr lang="en-US" sz="1050" b="1">
                          <a:solidFill>
                            <a:schemeClr val="tx1"/>
                          </a:solidFill>
                        </a:rPr>
                        <a:t>Recall</a:t>
                      </a:r>
                    </a:p>
                  </a:txBody>
                  <a:tcPr>
                    <a:solidFill>
                      <a:srgbClr val="CDECFF"/>
                    </a:solidFill>
                  </a:tcPr>
                </a:tc>
                <a:tc>
                  <a:txBody>
                    <a:bodyPr/>
                    <a:lstStyle/>
                    <a:p>
                      <a:r>
                        <a:rPr lang="en-US" sz="1050" b="1">
                          <a:solidFill>
                            <a:schemeClr val="tx1"/>
                          </a:solidFill>
                        </a:rPr>
                        <a:t>F1-Score</a:t>
                      </a:r>
                    </a:p>
                  </a:txBody>
                  <a:tcPr>
                    <a:solidFill>
                      <a:srgbClr val="CDECFF"/>
                    </a:solidFill>
                  </a:tcPr>
                </a:tc>
                <a:extLst>
                  <a:ext uri="{0D108BD9-81ED-4DB2-BD59-A6C34878D82A}">
                    <a16:rowId xmlns:a16="http://schemas.microsoft.com/office/drawing/2014/main" val="3585319335"/>
                  </a:ext>
                </a:extLst>
              </a:tr>
              <a:tr h="274320">
                <a:tc>
                  <a:txBody>
                    <a:bodyPr/>
                    <a:lstStyle/>
                    <a:p>
                      <a:r>
                        <a:rPr lang="en-US" sz="1050"/>
                        <a:t>Eosinophil</a:t>
                      </a:r>
                    </a:p>
                  </a:txBody>
                  <a:tcPr>
                    <a:lnB w="9525" cap="flat" cmpd="sng" algn="ctr">
                      <a:solidFill>
                        <a:schemeClr val="tx1"/>
                      </a:solidFill>
                      <a:prstDash val="dash"/>
                      <a:round/>
                      <a:headEnd type="none" w="med" len="med"/>
                      <a:tailEnd type="none" w="med" len="med"/>
                    </a:lnB>
                    <a:solidFill>
                      <a:srgbClr val="CDECFF"/>
                    </a:solidFill>
                  </a:tcPr>
                </a:tc>
                <a:tc>
                  <a:txBody>
                    <a:bodyPr/>
                    <a:lstStyle/>
                    <a:p>
                      <a:r>
                        <a:rPr lang="en-US" sz="1050"/>
                        <a:t>0.86</a:t>
                      </a:r>
                    </a:p>
                  </a:txBody>
                  <a:tcPr>
                    <a:lnB w="9525" cap="flat" cmpd="sng" algn="ctr">
                      <a:solidFill>
                        <a:schemeClr val="tx1"/>
                      </a:solidFill>
                      <a:prstDash val="dash"/>
                      <a:round/>
                      <a:headEnd type="none" w="med" len="med"/>
                      <a:tailEnd type="none" w="med" len="med"/>
                    </a:lnB>
                    <a:solidFill>
                      <a:schemeClr val="bg2"/>
                    </a:solidFill>
                  </a:tcPr>
                </a:tc>
                <a:tc>
                  <a:txBody>
                    <a:bodyPr/>
                    <a:lstStyle/>
                    <a:p>
                      <a:r>
                        <a:rPr lang="en-US" sz="1050"/>
                        <a:t>0.91</a:t>
                      </a:r>
                    </a:p>
                  </a:txBody>
                  <a:tcPr>
                    <a:lnB w="9525" cap="flat" cmpd="sng" algn="ctr">
                      <a:solidFill>
                        <a:schemeClr val="tx1"/>
                      </a:solidFill>
                      <a:prstDash val="dash"/>
                      <a:round/>
                      <a:headEnd type="none" w="med" len="med"/>
                      <a:tailEnd type="none" w="med" len="med"/>
                    </a:lnB>
                    <a:solidFill>
                      <a:schemeClr val="bg2"/>
                    </a:solidFill>
                  </a:tcPr>
                </a:tc>
                <a:tc>
                  <a:txBody>
                    <a:bodyPr/>
                    <a:lstStyle/>
                    <a:p>
                      <a:r>
                        <a:rPr lang="en-US" sz="1050"/>
                        <a:t>0.88</a:t>
                      </a:r>
                    </a:p>
                  </a:txBody>
                  <a:tcPr>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592136380"/>
                  </a:ext>
                </a:extLst>
              </a:tr>
              <a:tr h="274320">
                <a:tc>
                  <a:txBody>
                    <a:bodyPr/>
                    <a:lstStyle/>
                    <a:p>
                      <a:r>
                        <a:rPr lang="en-US" sz="1050"/>
                        <a:t>Lymphocyte</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CDECFF"/>
                    </a:solidFill>
                  </a:tcPr>
                </a:tc>
                <a:tc>
                  <a:txBody>
                    <a:bodyPr/>
                    <a:lstStyle/>
                    <a:p>
                      <a:r>
                        <a:rPr lang="en-US" sz="1050"/>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050"/>
                        <a:t>0.99</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050"/>
                        <a:t>0.99</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4119303229"/>
                  </a:ext>
                </a:extLst>
              </a:tr>
              <a:tr h="274320">
                <a:tc>
                  <a:txBody>
                    <a:bodyPr/>
                    <a:lstStyle/>
                    <a:p>
                      <a:r>
                        <a:rPr lang="en-US" sz="1050"/>
                        <a:t>Monocyte</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CDECFF"/>
                    </a:solidFill>
                  </a:tcPr>
                </a:tc>
                <a:tc>
                  <a:txBody>
                    <a:bodyPr/>
                    <a:lstStyle/>
                    <a:p>
                      <a:r>
                        <a:rPr lang="en-US" sz="1050"/>
                        <a:t>0.97</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050"/>
                        <a:t>0.99</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050"/>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942779283"/>
                  </a:ext>
                </a:extLst>
              </a:tr>
              <a:tr h="274320">
                <a:tc>
                  <a:txBody>
                    <a:bodyPr/>
                    <a:lstStyle/>
                    <a:p>
                      <a:r>
                        <a:rPr lang="en-US" sz="1050"/>
                        <a:t>Neutrophil</a:t>
                      </a:r>
                    </a:p>
                  </a:txBody>
                  <a:tcPr>
                    <a:lnT w="9525" cap="flat" cmpd="sng" algn="ctr">
                      <a:solidFill>
                        <a:schemeClr val="tx1"/>
                      </a:solidFill>
                      <a:prstDash val="dash"/>
                      <a:round/>
                      <a:headEnd type="none" w="med" len="med"/>
                      <a:tailEnd type="none" w="med" len="med"/>
                    </a:lnT>
                    <a:solidFill>
                      <a:srgbClr val="CDECFF"/>
                    </a:solidFill>
                  </a:tcPr>
                </a:tc>
                <a:tc>
                  <a:txBody>
                    <a:bodyPr/>
                    <a:lstStyle/>
                    <a:p>
                      <a:r>
                        <a:rPr lang="en-US" sz="1050"/>
                        <a:t>0.92</a:t>
                      </a:r>
                    </a:p>
                  </a:txBody>
                  <a:tcPr>
                    <a:lnT w="9525" cap="flat" cmpd="sng" algn="ctr">
                      <a:solidFill>
                        <a:schemeClr val="tx1"/>
                      </a:solidFill>
                      <a:prstDash val="dash"/>
                      <a:round/>
                      <a:headEnd type="none" w="med" len="med"/>
                      <a:tailEnd type="none" w="med" len="med"/>
                    </a:lnT>
                    <a:solidFill>
                      <a:schemeClr val="bg2"/>
                    </a:solidFill>
                  </a:tcPr>
                </a:tc>
                <a:tc>
                  <a:txBody>
                    <a:bodyPr/>
                    <a:lstStyle/>
                    <a:p>
                      <a:r>
                        <a:rPr lang="en-US" sz="1050"/>
                        <a:t>0.84</a:t>
                      </a:r>
                    </a:p>
                  </a:txBody>
                  <a:tcPr>
                    <a:lnT w="9525" cap="flat" cmpd="sng" algn="ctr">
                      <a:solidFill>
                        <a:schemeClr val="tx1"/>
                      </a:solidFill>
                      <a:prstDash val="dash"/>
                      <a:round/>
                      <a:headEnd type="none" w="med" len="med"/>
                      <a:tailEnd type="none" w="med" len="med"/>
                    </a:lnT>
                    <a:solidFill>
                      <a:schemeClr val="bg2"/>
                    </a:solidFill>
                  </a:tcPr>
                </a:tc>
                <a:tc>
                  <a:txBody>
                    <a:bodyPr/>
                    <a:lstStyle/>
                    <a:p>
                      <a:r>
                        <a:rPr lang="en-US" sz="1050"/>
                        <a:t>0.88</a:t>
                      </a:r>
                    </a:p>
                  </a:txBody>
                  <a:tcPr>
                    <a:lnT w="9525" cap="flat" cmpd="sng" algn="ctr">
                      <a:solidFill>
                        <a:schemeClr val="tx1"/>
                      </a:solidFill>
                      <a:prstDash val="dash"/>
                      <a:round/>
                      <a:headEnd type="none" w="med" len="med"/>
                      <a:tailEnd type="none" w="med" len="med"/>
                    </a:lnT>
                    <a:solidFill>
                      <a:schemeClr val="bg2"/>
                    </a:solidFill>
                  </a:tcPr>
                </a:tc>
                <a:extLst>
                  <a:ext uri="{0D108BD9-81ED-4DB2-BD59-A6C34878D82A}">
                    <a16:rowId xmlns:a16="http://schemas.microsoft.com/office/drawing/2014/main" val="3553094398"/>
                  </a:ext>
                </a:extLst>
              </a:tr>
            </a:tbl>
          </a:graphicData>
        </a:graphic>
      </p:graphicFrame>
      <p:pic>
        <p:nvPicPr>
          <p:cNvPr id="10" name="Picture 9">
            <a:extLst>
              <a:ext uri="{FF2B5EF4-FFF2-40B4-BE49-F238E27FC236}">
                <a16:creationId xmlns:a16="http://schemas.microsoft.com/office/drawing/2014/main" id="{F8AFD937-72C6-B9E1-7E30-FEDBAA662C1D}"/>
              </a:ext>
            </a:extLst>
          </p:cNvPr>
          <p:cNvPicPr>
            <a:picLocks noChangeAspect="1"/>
          </p:cNvPicPr>
          <p:nvPr/>
        </p:nvPicPr>
        <p:blipFill>
          <a:blip r:embed="rId4"/>
          <a:stretch>
            <a:fillRect/>
          </a:stretch>
        </p:blipFill>
        <p:spPr>
          <a:xfrm>
            <a:off x="19127590" y="1520824"/>
            <a:ext cx="5183654" cy="4176714"/>
          </a:xfrm>
          <a:prstGeom prst="rect">
            <a:avLst/>
          </a:prstGeom>
        </p:spPr>
      </p:pic>
    </p:spTree>
    <p:extLst>
      <p:ext uri="{BB962C8B-B14F-4D97-AF65-F5344CB8AC3E}">
        <p14:creationId xmlns:p14="http://schemas.microsoft.com/office/powerpoint/2010/main" val="149228584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DFD32D-6508-96B2-E7B9-0B50D3FAB32B}"/>
              </a:ext>
            </a:extLst>
          </p:cNvPr>
          <p:cNvSpPr>
            <a:spLocks noGrp="1"/>
          </p:cNvSpPr>
          <p:nvPr>
            <p:ph type="body" sz="quarter" idx="14"/>
          </p:nvPr>
        </p:nvSpPr>
        <p:spPr/>
        <p:txBody>
          <a:bodyPr/>
          <a:lstStyle/>
          <a:p>
            <a:r>
              <a:rPr lang="en-US"/>
              <a:t>Results - Test</a:t>
            </a:r>
          </a:p>
        </p:txBody>
      </p:sp>
      <p:sp>
        <p:nvSpPr>
          <p:cNvPr id="3" name="Text Placeholder 2">
            <a:extLst>
              <a:ext uri="{FF2B5EF4-FFF2-40B4-BE49-F238E27FC236}">
                <a16:creationId xmlns:a16="http://schemas.microsoft.com/office/drawing/2014/main" id="{6D589C28-4250-EB81-2BF8-21E0B631118C}"/>
              </a:ext>
            </a:extLst>
          </p:cNvPr>
          <p:cNvSpPr>
            <a:spLocks noGrp="1"/>
          </p:cNvSpPr>
          <p:nvPr>
            <p:ph type="body" sz="quarter" idx="15"/>
          </p:nvPr>
        </p:nvSpPr>
        <p:spPr/>
        <p:txBody>
          <a:bodyPr/>
          <a:lstStyle/>
          <a:p>
            <a:r>
              <a:rPr lang="en-US"/>
              <a:t>Performance of the best model</a:t>
            </a:r>
          </a:p>
        </p:txBody>
      </p:sp>
      <p:graphicFrame>
        <p:nvGraphicFramePr>
          <p:cNvPr id="7" name="Table 6">
            <a:extLst>
              <a:ext uri="{FF2B5EF4-FFF2-40B4-BE49-F238E27FC236}">
                <a16:creationId xmlns:a16="http://schemas.microsoft.com/office/drawing/2014/main" id="{8E6D05DA-6799-4773-E750-23E1C40BA5A5}"/>
              </a:ext>
            </a:extLst>
          </p:cNvPr>
          <p:cNvGraphicFramePr>
            <a:graphicFrameLocks noGrp="1"/>
          </p:cNvGraphicFramePr>
          <p:nvPr>
            <p:extLst>
              <p:ext uri="{D42A27DB-BD31-4B8C-83A1-F6EECF244321}">
                <p14:modId xmlns:p14="http://schemas.microsoft.com/office/powerpoint/2010/main" val="1332788015"/>
              </p:ext>
            </p:extLst>
          </p:nvPr>
        </p:nvGraphicFramePr>
        <p:xfrm>
          <a:off x="461169" y="2743199"/>
          <a:ext cx="4023360" cy="1371600"/>
        </p:xfrm>
        <a:graphic>
          <a:graphicData uri="http://schemas.openxmlformats.org/drawingml/2006/table">
            <a:tbl>
              <a:tblPr firstRow="1" bandRow="1">
                <a:tableStyleId>{5C22544A-7EE6-4342-B048-85BDC9FD1C3A}</a:tableStyleId>
              </a:tblPr>
              <a:tblGrid>
                <a:gridCol w="1280160">
                  <a:extLst>
                    <a:ext uri="{9D8B030D-6E8A-4147-A177-3AD203B41FA5}">
                      <a16:colId xmlns:a16="http://schemas.microsoft.com/office/drawing/2014/main" val="4047816733"/>
                    </a:ext>
                  </a:extLst>
                </a:gridCol>
                <a:gridCol w="914400">
                  <a:extLst>
                    <a:ext uri="{9D8B030D-6E8A-4147-A177-3AD203B41FA5}">
                      <a16:colId xmlns:a16="http://schemas.microsoft.com/office/drawing/2014/main" val="3416857600"/>
                    </a:ext>
                  </a:extLst>
                </a:gridCol>
                <a:gridCol w="914400">
                  <a:extLst>
                    <a:ext uri="{9D8B030D-6E8A-4147-A177-3AD203B41FA5}">
                      <a16:colId xmlns:a16="http://schemas.microsoft.com/office/drawing/2014/main" val="3899347634"/>
                    </a:ext>
                  </a:extLst>
                </a:gridCol>
                <a:gridCol w="914400">
                  <a:extLst>
                    <a:ext uri="{9D8B030D-6E8A-4147-A177-3AD203B41FA5}">
                      <a16:colId xmlns:a16="http://schemas.microsoft.com/office/drawing/2014/main" val="3150529503"/>
                    </a:ext>
                  </a:extLst>
                </a:gridCol>
              </a:tblGrid>
              <a:tr h="274320">
                <a:tc>
                  <a:txBody>
                    <a:bodyPr/>
                    <a:lstStyle/>
                    <a:p>
                      <a:r>
                        <a:rPr lang="en-US" sz="1050">
                          <a:solidFill>
                            <a:schemeClr val="tx1"/>
                          </a:solidFill>
                        </a:rPr>
                        <a:t>Accuracy = 0.76</a:t>
                      </a:r>
                    </a:p>
                  </a:txBody>
                  <a:tcPr>
                    <a:solidFill>
                      <a:srgbClr val="CDECFF"/>
                    </a:solidFill>
                  </a:tcPr>
                </a:tc>
                <a:tc>
                  <a:txBody>
                    <a:bodyPr/>
                    <a:lstStyle/>
                    <a:p>
                      <a:r>
                        <a:rPr lang="en-US" sz="1050">
                          <a:solidFill>
                            <a:schemeClr val="tx1"/>
                          </a:solidFill>
                        </a:rPr>
                        <a:t>Precision</a:t>
                      </a:r>
                    </a:p>
                  </a:txBody>
                  <a:tcPr>
                    <a:solidFill>
                      <a:srgbClr val="CDECFF"/>
                    </a:solidFill>
                  </a:tcPr>
                </a:tc>
                <a:tc>
                  <a:txBody>
                    <a:bodyPr/>
                    <a:lstStyle/>
                    <a:p>
                      <a:r>
                        <a:rPr lang="en-US" sz="1050">
                          <a:solidFill>
                            <a:schemeClr val="tx1"/>
                          </a:solidFill>
                        </a:rPr>
                        <a:t>Recall</a:t>
                      </a:r>
                    </a:p>
                  </a:txBody>
                  <a:tcPr>
                    <a:solidFill>
                      <a:srgbClr val="CDECFF"/>
                    </a:solidFill>
                  </a:tcPr>
                </a:tc>
                <a:tc>
                  <a:txBody>
                    <a:bodyPr/>
                    <a:lstStyle/>
                    <a:p>
                      <a:r>
                        <a:rPr lang="en-US" sz="1050">
                          <a:solidFill>
                            <a:schemeClr val="tx1"/>
                          </a:solidFill>
                        </a:rPr>
                        <a:t>F1-Score</a:t>
                      </a:r>
                    </a:p>
                  </a:txBody>
                  <a:tcPr>
                    <a:solidFill>
                      <a:srgbClr val="CDECFF"/>
                    </a:solidFill>
                  </a:tcPr>
                </a:tc>
                <a:extLst>
                  <a:ext uri="{0D108BD9-81ED-4DB2-BD59-A6C34878D82A}">
                    <a16:rowId xmlns:a16="http://schemas.microsoft.com/office/drawing/2014/main" val="3585319335"/>
                  </a:ext>
                </a:extLst>
              </a:tr>
              <a:tr h="274320">
                <a:tc>
                  <a:txBody>
                    <a:bodyPr/>
                    <a:lstStyle/>
                    <a:p>
                      <a:r>
                        <a:rPr lang="en-US" sz="1050"/>
                        <a:t>Eosinophil</a:t>
                      </a:r>
                    </a:p>
                  </a:txBody>
                  <a:tcPr>
                    <a:lnB w="9525" cap="flat" cmpd="sng" algn="ctr">
                      <a:solidFill>
                        <a:schemeClr val="tx1"/>
                      </a:solidFill>
                      <a:prstDash val="dash"/>
                      <a:round/>
                      <a:headEnd type="none" w="med" len="med"/>
                      <a:tailEnd type="none" w="med" len="med"/>
                    </a:lnB>
                    <a:solidFill>
                      <a:srgbClr val="CDECFF"/>
                    </a:solidFill>
                  </a:tcPr>
                </a:tc>
                <a:tc>
                  <a:txBody>
                    <a:bodyPr/>
                    <a:lstStyle/>
                    <a:p>
                      <a:r>
                        <a:rPr lang="en-US" sz="1050"/>
                        <a:t>0.57</a:t>
                      </a:r>
                    </a:p>
                  </a:txBody>
                  <a:tcPr>
                    <a:lnB w="9525" cap="flat" cmpd="sng" algn="ctr">
                      <a:solidFill>
                        <a:schemeClr val="tx1"/>
                      </a:solidFill>
                      <a:prstDash val="dash"/>
                      <a:round/>
                      <a:headEnd type="none" w="med" len="med"/>
                      <a:tailEnd type="none" w="med" len="med"/>
                    </a:lnB>
                    <a:solidFill>
                      <a:schemeClr val="bg2"/>
                    </a:solidFill>
                  </a:tcPr>
                </a:tc>
                <a:tc>
                  <a:txBody>
                    <a:bodyPr/>
                    <a:lstStyle/>
                    <a:p>
                      <a:r>
                        <a:rPr lang="en-US" sz="1050"/>
                        <a:t>0.86</a:t>
                      </a:r>
                    </a:p>
                  </a:txBody>
                  <a:tcPr>
                    <a:lnB w="9525" cap="flat" cmpd="sng" algn="ctr">
                      <a:solidFill>
                        <a:schemeClr val="tx1"/>
                      </a:solidFill>
                      <a:prstDash val="dash"/>
                      <a:round/>
                      <a:headEnd type="none" w="med" len="med"/>
                      <a:tailEnd type="none" w="med" len="med"/>
                    </a:lnB>
                    <a:solidFill>
                      <a:schemeClr val="bg2"/>
                    </a:solidFill>
                  </a:tcPr>
                </a:tc>
                <a:tc>
                  <a:txBody>
                    <a:bodyPr/>
                    <a:lstStyle/>
                    <a:p>
                      <a:r>
                        <a:rPr lang="en-US" sz="1050"/>
                        <a:t>0.69</a:t>
                      </a:r>
                    </a:p>
                  </a:txBody>
                  <a:tcPr>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592136380"/>
                  </a:ext>
                </a:extLst>
              </a:tr>
              <a:tr h="274320">
                <a:tc>
                  <a:txBody>
                    <a:bodyPr/>
                    <a:lstStyle/>
                    <a:p>
                      <a:r>
                        <a:rPr lang="en-US" sz="1050"/>
                        <a:t>Lymphocyte</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CDECFF"/>
                    </a:solidFill>
                  </a:tcPr>
                </a:tc>
                <a:tc>
                  <a:txBody>
                    <a:bodyPr/>
                    <a:lstStyle/>
                    <a:p>
                      <a:r>
                        <a:rPr lang="en-US" sz="1050"/>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050"/>
                        <a:t>0.99</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050"/>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4119303229"/>
                  </a:ext>
                </a:extLst>
              </a:tr>
              <a:tr h="274320">
                <a:tc>
                  <a:txBody>
                    <a:bodyPr/>
                    <a:lstStyle/>
                    <a:p>
                      <a:r>
                        <a:rPr lang="en-US" sz="1050"/>
                        <a:t>Monocyte</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CDECFF"/>
                    </a:solidFill>
                  </a:tcPr>
                </a:tc>
                <a:tc>
                  <a:txBody>
                    <a:bodyPr/>
                    <a:lstStyle/>
                    <a:p>
                      <a:r>
                        <a:rPr lang="en-US" sz="1050"/>
                        <a:t>0.97</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050"/>
                        <a:t>0.42</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050"/>
                        <a:t>0.5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942779283"/>
                  </a:ext>
                </a:extLst>
              </a:tr>
              <a:tr h="274320">
                <a:tc>
                  <a:txBody>
                    <a:bodyPr/>
                    <a:lstStyle/>
                    <a:p>
                      <a:r>
                        <a:rPr lang="en-US" sz="1050"/>
                        <a:t>Neutrophil</a:t>
                      </a:r>
                    </a:p>
                  </a:txBody>
                  <a:tcPr>
                    <a:lnT w="9525" cap="flat" cmpd="sng" algn="ctr">
                      <a:solidFill>
                        <a:schemeClr val="tx1"/>
                      </a:solidFill>
                      <a:prstDash val="dash"/>
                      <a:round/>
                      <a:headEnd type="none" w="med" len="med"/>
                      <a:tailEnd type="none" w="med" len="med"/>
                    </a:lnT>
                    <a:solidFill>
                      <a:srgbClr val="CDECFF"/>
                    </a:solidFill>
                  </a:tcPr>
                </a:tc>
                <a:tc>
                  <a:txBody>
                    <a:bodyPr/>
                    <a:lstStyle/>
                    <a:p>
                      <a:r>
                        <a:rPr lang="en-US" sz="1050"/>
                        <a:t>0.74</a:t>
                      </a:r>
                    </a:p>
                  </a:txBody>
                  <a:tcPr>
                    <a:lnT w="9525" cap="flat" cmpd="sng" algn="ctr">
                      <a:solidFill>
                        <a:schemeClr val="tx1"/>
                      </a:solidFill>
                      <a:prstDash val="dash"/>
                      <a:round/>
                      <a:headEnd type="none" w="med" len="med"/>
                      <a:tailEnd type="none" w="med" len="med"/>
                    </a:lnT>
                    <a:solidFill>
                      <a:schemeClr val="bg2"/>
                    </a:solidFill>
                  </a:tcPr>
                </a:tc>
                <a:tc>
                  <a:txBody>
                    <a:bodyPr/>
                    <a:lstStyle/>
                    <a:p>
                      <a:r>
                        <a:rPr lang="en-US" sz="1050"/>
                        <a:t>0.77</a:t>
                      </a:r>
                    </a:p>
                  </a:txBody>
                  <a:tcPr>
                    <a:lnT w="9525" cap="flat" cmpd="sng" algn="ctr">
                      <a:solidFill>
                        <a:schemeClr val="tx1"/>
                      </a:solidFill>
                      <a:prstDash val="dash"/>
                      <a:round/>
                      <a:headEnd type="none" w="med" len="med"/>
                      <a:tailEnd type="none" w="med" len="med"/>
                    </a:lnT>
                    <a:solidFill>
                      <a:schemeClr val="bg2"/>
                    </a:solidFill>
                  </a:tcPr>
                </a:tc>
                <a:tc>
                  <a:txBody>
                    <a:bodyPr/>
                    <a:lstStyle/>
                    <a:p>
                      <a:r>
                        <a:rPr lang="en-US" sz="1050"/>
                        <a:t>0.75</a:t>
                      </a:r>
                    </a:p>
                  </a:txBody>
                  <a:tcPr>
                    <a:lnT w="9525" cap="flat" cmpd="sng" algn="ctr">
                      <a:solidFill>
                        <a:schemeClr val="tx1"/>
                      </a:solidFill>
                      <a:prstDash val="dash"/>
                      <a:round/>
                      <a:headEnd type="none" w="med" len="med"/>
                      <a:tailEnd type="none" w="med" len="med"/>
                    </a:lnT>
                    <a:solidFill>
                      <a:schemeClr val="bg2"/>
                    </a:solidFill>
                  </a:tcPr>
                </a:tc>
                <a:extLst>
                  <a:ext uri="{0D108BD9-81ED-4DB2-BD59-A6C34878D82A}">
                    <a16:rowId xmlns:a16="http://schemas.microsoft.com/office/drawing/2014/main" val="3553094398"/>
                  </a:ext>
                </a:extLst>
              </a:tr>
            </a:tbl>
          </a:graphicData>
        </a:graphic>
      </p:graphicFrame>
      <p:pic>
        <p:nvPicPr>
          <p:cNvPr id="12" name="Picture 11">
            <a:extLst>
              <a:ext uri="{FF2B5EF4-FFF2-40B4-BE49-F238E27FC236}">
                <a16:creationId xmlns:a16="http://schemas.microsoft.com/office/drawing/2014/main" id="{8D2687FF-5A6B-046D-12B4-3363D122C23E}"/>
              </a:ext>
            </a:extLst>
          </p:cNvPr>
          <p:cNvPicPr>
            <a:picLocks noChangeAspect="1"/>
          </p:cNvPicPr>
          <p:nvPr/>
        </p:nvPicPr>
        <p:blipFill>
          <a:blip r:embed="rId2"/>
          <a:stretch>
            <a:fillRect/>
          </a:stretch>
        </p:blipFill>
        <p:spPr>
          <a:xfrm>
            <a:off x="6471282" y="1520824"/>
            <a:ext cx="5130029" cy="4176713"/>
          </a:xfrm>
          <a:prstGeom prst="rect">
            <a:avLst/>
          </a:prstGeom>
        </p:spPr>
      </p:pic>
      <p:pic>
        <p:nvPicPr>
          <p:cNvPr id="4" name="Picture 3" descr="A logo with red and blue colors&#10;&#10;Description automatically generated">
            <a:extLst>
              <a:ext uri="{FF2B5EF4-FFF2-40B4-BE49-F238E27FC236}">
                <a16:creationId xmlns:a16="http://schemas.microsoft.com/office/drawing/2014/main" id="{123F3052-1C63-C078-D5AD-15AC259498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6993" y="771786"/>
            <a:ext cx="824164" cy="824164"/>
          </a:xfrm>
          <a:prstGeom prst="ellipse">
            <a:avLst/>
          </a:prstGeom>
        </p:spPr>
      </p:pic>
      <p:pic>
        <p:nvPicPr>
          <p:cNvPr id="5" name="Picture 4">
            <a:extLst>
              <a:ext uri="{FF2B5EF4-FFF2-40B4-BE49-F238E27FC236}">
                <a16:creationId xmlns:a16="http://schemas.microsoft.com/office/drawing/2014/main" id="{0CD8FA2D-D1E2-5F0D-5F86-8866ABDC0ADC}"/>
              </a:ext>
            </a:extLst>
          </p:cNvPr>
          <p:cNvPicPr>
            <a:picLocks noChangeAspect="1"/>
          </p:cNvPicPr>
          <p:nvPr/>
        </p:nvPicPr>
        <p:blipFill>
          <a:blip r:embed="rId4">
            <a:extLst>
              <a:ext uri="{28A0092B-C50C-407E-A947-70E740481C1C}">
                <a14:useLocalDpi xmlns:a14="http://schemas.microsoft.com/office/drawing/2010/main" val="0"/>
              </a:ext>
            </a:extLst>
          </a:blip>
          <a:srcRect l="312" r="312"/>
          <a:stretch/>
        </p:blipFill>
        <p:spPr>
          <a:xfrm>
            <a:off x="-2256653" y="771786"/>
            <a:ext cx="824164" cy="824164"/>
          </a:xfrm>
          <a:prstGeom prst="ellipse">
            <a:avLst/>
          </a:prstGeom>
        </p:spPr>
      </p:pic>
      <p:graphicFrame>
        <p:nvGraphicFramePr>
          <p:cNvPr id="8" name="Table 7">
            <a:extLst>
              <a:ext uri="{FF2B5EF4-FFF2-40B4-BE49-F238E27FC236}">
                <a16:creationId xmlns:a16="http://schemas.microsoft.com/office/drawing/2014/main" id="{1786A53C-427A-E3F9-6C7C-D8E8EAF551D9}"/>
              </a:ext>
            </a:extLst>
          </p:cNvPr>
          <p:cNvGraphicFramePr>
            <a:graphicFrameLocks noGrp="1"/>
          </p:cNvGraphicFramePr>
          <p:nvPr>
            <p:extLst>
              <p:ext uri="{D42A27DB-BD31-4B8C-83A1-F6EECF244321}">
                <p14:modId xmlns:p14="http://schemas.microsoft.com/office/powerpoint/2010/main" val="2525331126"/>
              </p:ext>
            </p:extLst>
          </p:nvPr>
        </p:nvGraphicFramePr>
        <p:xfrm>
          <a:off x="13018929" y="2743200"/>
          <a:ext cx="4023360" cy="1371600"/>
        </p:xfrm>
        <a:graphic>
          <a:graphicData uri="http://schemas.openxmlformats.org/drawingml/2006/table">
            <a:tbl>
              <a:tblPr firstRow="1" bandRow="1">
                <a:tableStyleId>{5C22544A-7EE6-4342-B048-85BDC9FD1C3A}</a:tableStyleId>
              </a:tblPr>
              <a:tblGrid>
                <a:gridCol w="1280160">
                  <a:extLst>
                    <a:ext uri="{9D8B030D-6E8A-4147-A177-3AD203B41FA5}">
                      <a16:colId xmlns:a16="http://schemas.microsoft.com/office/drawing/2014/main" val="4047816733"/>
                    </a:ext>
                  </a:extLst>
                </a:gridCol>
                <a:gridCol w="914400">
                  <a:extLst>
                    <a:ext uri="{9D8B030D-6E8A-4147-A177-3AD203B41FA5}">
                      <a16:colId xmlns:a16="http://schemas.microsoft.com/office/drawing/2014/main" val="3416857600"/>
                    </a:ext>
                  </a:extLst>
                </a:gridCol>
                <a:gridCol w="914400">
                  <a:extLst>
                    <a:ext uri="{9D8B030D-6E8A-4147-A177-3AD203B41FA5}">
                      <a16:colId xmlns:a16="http://schemas.microsoft.com/office/drawing/2014/main" val="3899347634"/>
                    </a:ext>
                  </a:extLst>
                </a:gridCol>
                <a:gridCol w="914400">
                  <a:extLst>
                    <a:ext uri="{9D8B030D-6E8A-4147-A177-3AD203B41FA5}">
                      <a16:colId xmlns:a16="http://schemas.microsoft.com/office/drawing/2014/main" val="3150529503"/>
                    </a:ext>
                  </a:extLst>
                </a:gridCol>
              </a:tblGrid>
              <a:tr h="274320">
                <a:tc>
                  <a:txBody>
                    <a:bodyPr/>
                    <a:lstStyle/>
                    <a:p>
                      <a:r>
                        <a:rPr lang="en-US" sz="1050">
                          <a:solidFill>
                            <a:schemeClr val="tx1"/>
                          </a:solidFill>
                        </a:rPr>
                        <a:t>Accuracy = 0.94</a:t>
                      </a:r>
                    </a:p>
                  </a:txBody>
                  <a:tcPr>
                    <a:solidFill>
                      <a:srgbClr val="CDECFF"/>
                    </a:solidFill>
                  </a:tcPr>
                </a:tc>
                <a:tc>
                  <a:txBody>
                    <a:bodyPr/>
                    <a:lstStyle/>
                    <a:p>
                      <a:r>
                        <a:rPr lang="en-US" sz="1050">
                          <a:solidFill>
                            <a:schemeClr val="tx1"/>
                          </a:solidFill>
                        </a:rPr>
                        <a:t>Precision</a:t>
                      </a:r>
                    </a:p>
                  </a:txBody>
                  <a:tcPr>
                    <a:solidFill>
                      <a:srgbClr val="CDECFF"/>
                    </a:solidFill>
                  </a:tcPr>
                </a:tc>
                <a:tc>
                  <a:txBody>
                    <a:bodyPr/>
                    <a:lstStyle/>
                    <a:p>
                      <a:r>
                        <a:rPr lang="en-US" sz="1050">
                          <a:solidFill>
                            <a:schemeClr val="tx1"/>
                          </a:solidFill>
                        </a:rPr>
                        <a:t>Recall</a:t>
                      </a:r>
                    </a:p>
                  </a:txBody>
                  <a:tcPr>
                    <a:solidFill>
                      <a:srgbClr val="CDECFF"/>
                    </a:solidFill>
                  </a:tcPr>
                </a:tc>
                <a:tc>
                  <a:txBody>
                    <a:bodyPr/>
                    <a:lstStyle/>
                    <a:p>
                      <a:r>
                        <a:rPr lang="en-US" sz="1050">
                          <a:solidFill>
                            <a:schemeClr val="tx1"/>
                          </a:solidFill>
                        </a:rPr>
                        <a:t>F1-Score</a:t>
                      </a:r>
                    </a:p>
                  </a:txBody>
                  <a:tcPr>
                    <a:solidFill>
                      <a:srgbClr val="CDECFF"/>
                    </a:solidFill>
                  </a:tcPr>
                </a:tc>
                <a:extLst>
                  <a:ext uri="{0D108BD9-81ED-4DB2-BD59-A6C34878D82A}">
                    <a16:rowId xmlns:a16="http://schemas.microsoft.com/office/drawing/2014/main" val="3585319335"/>
                  </a:ext>
                </a:extLst>
              </a:tr>
              <a:tr h="274320">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Eosinophil</a:t>
                      </a:r>
                    </a:p>
                  </a:txBody>
                  <a:tcPr>
                    <a:lnB w="9525" cap="flat" cmpd="sng" algn="ctr">
                      <a:solidFill>
                        <a:schemeClr val="tx1"/>
                      </a:solidFill>
                      <a:prstDash val="dash"/>
                      <a:round/>
                      <a:headEnd type="none" w="med" len="med"/>
                      <a:tailEnd type="none" w="med" len="med"/>
                    </a:lnB>
                    <a:solidFill>
                      <a:srgbClr val="CDECFF"/>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86</a:t>
                      </a:r>
                    </a:p>
                  </a:txBody>
                  <a:tcPr>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2</a:t>
                      </a:r>
                    </a:p>
                  </a:txBody>
                  <a:tcPr>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89</a:t>
                      </a:r>
                    </a:p>
                  </a:txBody>
                  <a:tcPr>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592136380"/>
                  </a:ext>
                </a:extLst>
              </a:tr>
              <a:tr h="274320">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Lymphocyte</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CDECFF"/>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9</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4119303229"/>
                  </a:ext>
                </a:extLst>
              </a:tr>
              <a:tr h="274320">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Monocyte</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CDECFF"/>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7</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8</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extLst>
                  <a:ext uri="{0D108BD9-81ED-4DB2-BD59-A6C34878D82A}">
                    <a16:rowId xmlns:a16="http://schemas.microsoft.com/office/drawing/2014/main" val="942779283"/>
                  </a:ext>
                </a:extLst>
              </a:tr>
              <a:tr h="274320">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Neutrophil</a:t>
                      </a:r>
                    </a:p>
                  </a:txBody>
                  <a:tcPr>
                    <a:lnT w="9525" cap="flat" cmpd="sng" algn="ctr">
                      <a:solidFill>
                        <a:schemeClr val="tx1"/>
                      </a:solidFill>
                      <a:prstDash val="dash"/>
                      <a:round/>
                      <a:headEnd type="none" w="med" len="med"/>
                      <a:tailEnd type="none" w="med" len="med"/>
                    </a:lnT>
                    <a:solidFill>
                      <a:srgbClr val="CDECFF"/>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93</a:t>
                      </a:r>
                    </a:p>
                  </a:txBody>
                  <a:tcPr>
                    <a:lnT w="9525" cap="flat" cmpd="sng" algn="ctr">
                      <a:solidFill>
                        <a:schemeClr val="tx1"/>
                      </a:solidFill>
                      <a:prstDash val="dash"/>
                      <a:round/>
                      <a:headEnd type="none" w="med" len="med"/>
                      <a:tailEnd type="none" w="med" len="med"/>
                    </a:lnT>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85</a:t>
                      </a:r>
                    </a:p>
                  </a:txBody>
                  <a:tcPr>
                    <a:lnT w="9525" cap="flat" cmpd="sng" algn="ctr">
                      <a:solidFill>
                        <a:schemeClr val="tx1"/>
                      </a:solidFill>
                      <a:prstDash val="dash"/>
                      <a:round/>
                      <a:headEnd type="none" w="med" len="med"/>
                      <a:tailEnd type="none" w="med" len="med"/>
                    </a:lnT>
                    <a:solidFill>
                      <a:schemeClr val="bg2"/>
                    </a:solidFill>
                  </a:tcPr>
                </a:tc>
                <a:tc>
                  <a:txBody>
                    <a:bodyPr/>
                    <a:lstStyle/>
                    <a:p>
                      <a:pPr marL="0" marR="0" indent="0" algn="ctr" defTabSz="412750" rtl="0" latinLnBrk="0">
                        <a:lnSpc>
                          <a:spcPct val="100000"/>
                        </a:lnSpc>
                        <a:spcBef>
                          <a:spcPts val="0"/>
                        </a:spcBef>
                        <a:spcAft>
                          <a:spcPts val="0"/>
                        </a:spcAft>
                        <a:buClrTx/>
                        <a:buSzTx/>
                        <a:buFontTx/>
                        <a:buNone/>
                        <a:tabLst/>
                      </a:pPr>
                      <a:r>
                        <a:rPr lang="en-US" sz="1050" b="0" i="0" u="none" strike="noStrike" cap="none" spc="0" baseline="0">
                          <a:ln>
                            <a:noFill/>
                          </a:ln>
                          <a:solidFill>
                            <a:schemeClr val="dk1"/>
                          </a:solidFill>
                          <a:uFillTx/>
                          <a:latin typeface="+mn-lt"/>
                          <a:ea typeface="+mn-ea"/>
                          <a:cs typeface="+mn-cs"/>
                          <a:sym typeface="Helvetica Neue Light"/>
                        </a:rPr>
                        <a:t>0.89</a:t>
                      </a:r>
                    </a:p>
                  </a:txBody>
                  <a:tcPr>
                    <a:lnT w="9525" cap="flat" cmpd="sng" algn="ctr">
                      <a:solidFill>
                        <a:schemeClr val="tx1"/>
                      </a:solidFill>
                      <a:prstDash val="dash"/>
                      <a:round/>
                      <a:headEnd type="none" w="med" len="med"/>
                      <a:tailEnd type="none" w="med" len="med"/>
                    </a:lnT>
                    <a:solidFill>
                      <a:schemeClr val="bg2"/>
                    </a:solidFill>
                  </a:tcPr>
                </a:tc>
                <a:extLst>
                  <a:ext uri="{0D108BD9-81ED-4DB2-BD59-A6C34878D82A}">
                    <a16:rowId xmlns:a16="http://schemas.microsoft.com/office/drawing/2014/main" val="3553094398"/>
                  </a:ext>
                </a:extLst>
              </a:tr>
            </a:tbl>
          </a:graphicData>
        </a:graphic>
      </p:graphicFrame>
      <p:pic>
        <p:nvPicPr>
          <p:cNvPr id="9" name="Picture 8">
            <a:extLst>
              <a:ext uri="{FF2B5EF4-FFF2-40B4-BE49-F238E27FC236}">
                <a16:creationId xmlns:a16="http://schemas.microsoft.com/office/drawing/2014/main" id="{1542A2D2-1471-D6EC-DC1B-A0CBDA8174DF}"/>
              </a:ext>
            </a:extLst>
          </p:cNvPr>
          <p:cNvPicPr>
            <a:picLocks noChangeAspect="1"/>
          </p:cNvPicPr>
          <p:nvPr/>
        </p:nvPicPr>
        <p:blipFill>
          <a:blip r:embed="rId5"/>
          <a:stretch>
            <a:fillRect/>
          </a:stretch>
        </p:blipFill>
        <p:spPr>
          <a:xfrm>
            <a:off x="19029768" y="1520824"/>
            <a:ext cx="5130030" cy="4176714"/>
          </a:xfrm>
          <a:prstGeom prst="rect">
            <a:avLst/>
          </a:prstGeom>
        </p:spPr>
      </p:pic>
    </p:spTree>
    <p:extLst>
      <p:ext uri="{BB962C8B-B14F-4D97-AF65-F5344CB8AC3E}">
        <p14:creationId xmlns:p14="http://schemas.microsoft.com/office/powerpoint/2010/main" val="427924945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2EF7972-B978-424D-BE4C-9FDABFD45DB5}"/>
              </a:ext>
            </a:extLst>
          </p:cNvPr>
          <p:cNvGraphicFramePr>
            <a:graphicFrameLocks noChangeAspect="1"/>
          </p:cNvGraphicFramePr>
          <p:nvPr>
            <p:custDataLst>
              <p:tags r:id="rId1"/>
            </p:custDataLst>
            <p:extLst>
              <p:ext uri="{D42A27DB-BD31-4B8C-83A1-F6EECF244321}">
                <p14:modId xmlns:p14="http://schemas.microsoft.com/office/powerpoint/2010/main" val="3604001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6" imgH="426" progId="TCLayout.ActiveDocument.1">
                  <p:embed/>
                </p:oleObj>
              </mc:Choice>
              <mc:Fallback>
                <p:oleObj name="think-cell Folie" r:id="rId3" imgW="426" imgH="426" progId="TCLayout.ActiveDocument.1">
                  <p:embed/>
                  <p:pic>
                    <p:nvPicPr>
                      <p:cNvPr id="11" name="think-cell data - do not delete" hidden="1">
                        <a:extLst>
                          <a:ext uri="{FF2B5EF4-FFF2-40B4-BE49-F238E27FC236}">
                            <a16:creationId xmlns:a16="http://schemas.microsoft.com/office/drawing/2014/main" id="{12EF7972-B978-424D-BE4C-9FDABFD45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3B56B71E-0136-9A9F-9577-669D4396BB8F}"/>
              </a:ext>
            </a:extLst>
          </p:cNvPr>
          <p:cNvSpPr/>
          <p:nvPr/>
        </p:nvSpPr>
        <p:spPr>
          <a:xfrm>
            <a:off x="5718628" y="1520825"/>
            <a:ext cx="6030460" cy="932089"/>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92000" tIns="72000" rIns="72000" bIns="72000" numCol="1" spcCol="38100" rtlCol="0" anchor="t">
            <a:noAutofit/>
          </a:bodyPr>
          <a:lstStyle/>
          <a:p>
            <a:pPr algn="just">
              <a:spcAft>
                <a:spcPts val="300"/>
              </a:spcAft>
            </a:pPr>
            <a:r>
              <a:rPr lang="en-US" sz="1400" b="1">
                <a:latin typeface="Helvetica" pitchFamily="2" charset="0"/>
                <a:sym typeface="Helvetica Neue"/>
              </a:rPr>
              <a:t>Performance</a:t>
            </a:r>
          </a:p>
          <a:p>
            <a:pPr algn="just">
              <a:spcAft>
                <a:spcPts val="300"/>
              </a:spcAft>
            </a:pPr>
            <a:r>
              <a:rPr lang="en-US" sz="1200" err="1">
                <a:latin typeface="Helvetica" pitchFamily="2" charset="0"/>
                <a:sym typeface="Helvetica Neue"/>
              </a:rPr>
              <a:t>BloodCell</a:t>
            </a:r>
            <a:r>
              <a:rPr lang="en-US" sz="1200">
                <a:latin typeface="Helvetica" pitchFamily="2" charset="0"/>
                <a:sym typeface="Helvetica Neue"/>
              </a:rPr>
              <a:t> AI outperforms competitors, offering superior results in cell classification and disease diagnosis.</a:t>
            </a:r>
          </a:p>
        </p:txBody>
      </p:sp>
      <p:sp>
        <p:nvSpPr>
          <p:cNvPr id="2" name="Text Placeholder 1">
            <a:extLst>
              <a:ext uri="{FF2B5EF4-FFF2-40B4-BE49-F238E27FC236}">
                <a16:creationId xmlns:a16="http://schemas.microsoft.com/office/drawing/2014/main" id="{66A31817-2239-6177-4CA0-F294F2E99166}"/>
              </a:ext>
            </a:extLst>
          </p:cNvPr>
          <p:cNvSpPr>
            <a:spLocks noGrp="1"/>
          </p:cNvSpPr>
          <p:nvPr>
            <p:ph type="body" sz="quarter" idx="14"/>
          </p:nvPr>
        </p:nvSpPr>
        <p:spPr/>
        <p:txBody>
          <a:bodyPr/>
          <a:lstStyle/>
          <a:p>
            <a:r>
              <a:rPr lang="en-US"/>
              <a:t>Conclusion</a:t>
            </a:r>
          </a:p>
        </p:txBody>
      </p:sp>
      <p:sp>
        <p:nvSpPr>
          <p:cNvPr id="3" name="Text Placeholder 2">
            <a:extLst>
              <a:ext uri="{FF2B5EF4-FFF2-40B4-BE49-F238E27FC236}">
                <a16:creationId xmlns:a16="http://schemas.microsoft.com/office/drawing/2014/main" id="{A95C4B3D-BC70-7C15-CA2D-93A25EAC0B82}"/>
              </a:ext>
            </a:extLst>
          </p:cNvPr>
          <p:cNvSpPr>
            <a:spLocks noGrp="1"/>
          </p:cNvSpPr>
          <p:nvPr>
            <p:ph type="body" sz="quarter" idx="15"/>
          </p:nvPr>
        </p:nvSpPr>
        <p:spPr/>
        <p:txBody>
          <a:bodyPr/>
          <a:lstStyle/>
          <a:p>
            <a:r>
              <a:rPr lang="en-US"/>
              <a:t>Outperforming </a:t>
            </a:r>
            <a:r>
              <a:rPr lang="en-US" err="1"/>
              <a:t>CellVision</a:t>
            </a:r>
            <a:r>
              <a:rPr lang="en-US"/>
              <a:t> Diagnostics</a:t>
            </a:r>
          </a:p>
        </p:txBody>
      </p:sp>
      <p:graphicFrame>
        <p:nvGraphicFramePr>
          <p:cNvPr id="4" name="Table 3">
            <a:extLst>
              <a:ext uri="{FF2B5EF4-FFF2-40B4-BE49-F238E27FC236}">
                <a16:creationId xmlns:a16="http://schemas.microsoft.com/office/drawing/2014/main" id="{B4CC94A9-7216-8D63-D663-E426469220E4}"/>
              </a:ext>
            </a:extLst>
          </p:cNvPr>
          <p:cNvGraphicFramePr>
            <a:graphicFrameLocks noGrp="1"/>
          </p:cNvGraphicFramePr>
          <p:nvPr>
            <p:extLst>
              <p:ext uri="{D42A27DB-BD31-4B8C-83A1-F6EECF244321}">
                <p14:modId xmlns:p14="http://schemas.microsoft.com/office/powerpoint/2010/main" val="4171682431"/>
              </p:ext>
            </p:extLst>
          </p:nvPr>
        </p:nvGraphicFramePr>
        <p:xfrm>
          <a:off x="461168" y="2840790"/>
          <a:ext cx="3515223" cy="1524000"/>
        </p:xfrm>
        <a:graphic>
          <a:graphicData uri="http://schemas.openxmlformats.org/drawingml/2006/table">
            <a:tbl>
              <a:tblPr firstRow="1" bandRow="1">
                <a:tableStyleId>{5C22544A-7EE6-4342-B048-85BDC9FD1C3A}</a:tableStyleId>
              </a:tblPr>
              <a:tblGrid>
                <a:gridCol w="1171741">
                  <a:extLst>
                    <a:ext uri="{9D8B030D-6E8A-4147-A177-3AD203B41FA5}">
                      <a16:colId xmlns:a16="http://schemas.microsoft.com/office/drawing/2014/main" val="977509828"/>
                    </a:ext>
                  </a:extLst>
                </a:gridCol>
                <a:gridCol w="1171741">
                  <a:extLst>
                    <a:ext uri="{9D8B030D-6E8A-4147-A177-3AD203B41FA5}">
                      <a16:colId xmlns:a16="http://schemas.microsoft.com/office/drawing/2014/main" val="1084326188"/>
                    </a:ext>
                  </a:extLst>
                </a:gridCol>
                <a:gridCol w="1171741">
                  <a:extLst>
                    <a:ext uri="{9D8B030D-6E8A-4147-A177-3AD203B41FA5}">
                      <a16:colId xmlns:a16="http://schemas.microsoft.com/office/drawing/2014/main" val="2196433131"/>
                    </a:ext>
                  </a:extLst>
                </a:gridCol>
              </a:tblGrid>
              <a:tr h="0">
                <a:tc>
                  <a:txBody>
                    <a:bodyPr/>
                    <a:lstStyle/>
                    <a:p>
                      <a:endParaRPr lang="en-US" b="1">
                        <a:solidFill>
                          <a:schemeClr val="tx1"/>
                        </a:solidFill>
                      </a:endParaRPr>
                    </a:p>
                  </a:txBody>
                  <a:tcPr anchor="ctr">
                    <a:solidFill>
                      <a:srgbClr val="CDECFF"/>
                    </a:solidFill>
                  </a:tcPr>
                </a:tc>
                <a:tc>
                  <a:txBody>
                    <a:bodyPr/>
                    <a:lstStyle/>
                    <a:p>
                      <a:r>
                        <a:rPr lang="en-US" sz="1400" b="1">
                          <a:solidFill>
                            <a:schemeClr val="tx1"/>
                          </a:solidFill>
                        </a:rPr>
                        <a:t>CellVision</a:t>
                      </a:r>
                      <a:endParaRPr lang="en-US" b="1">
                        <a:solidFill>
                          <a:schemeClr val="tx1"/>
                        </a:solidFill>
                      </a:endParaRPr>
                    </a:p>
                  </a:txBody>
                  <a:tcPr anchor="ctr">
                    <a:solidFill>
                      <a:srgbClr val="CDECFF"/>
                    </a:solidFill>
                  </a:tcPr>
                </a:tc>
                <a:tc>
                  <a:txBody>
                    <a:bodyPr/>
                    <a:lstStyle/>
                    <a:p>
                      <a:r>
                        <a:rPr lang="en-US" sz="1400" b="1">
                          <a:solidFill>
                            <a:schemeClr val="tx1"/>
                          </a:solidFill>
                        </a:rPr>
                        <a:t>BloodCell</a:t>
                      </a:r>
                    </a:p>
                  </a:txBody>
                  <a:tcPr anchor="ctr">
                    <a:solidFill>
                      <a:srgbClr val="CDECFF"/>
                    </a:solidFill>
                  </a:tcPr>
                </a:tc>
                <a:extLst>
                  <a:ext uri="{0D108BD9-81ED-4DB2-BD59-A6C34878D82A}">
                    <a16:rowId xmlns:a16="http://schemas.microsoft.com/office/drawing/2014/main" val="1612132775"/>
                  </a:ext>
                </a:extLst>
              </a:tr>
              <a:tr h="0">
                <a:tc>
                  <a:txBody>
                    <a:bodyPr/>
                    <a:lstStyle/>
                    <a:p>
                      <a:r>
                        <a:rPr lang="en-US"/>
                        <a:t>Accuracy</a:t>
                      </a:r>
                    </a:p>
                  </a:txBody>
                  <a:tcPr>
                    <a:lnB w="9525" cap="flat" cmpd="sng" algn="ctr">
                      <a:solidFill>
                        <a:schemeClr val="tx1"/>
                      </a:solidFill>
                      <a:prstDash val="dash"/>
                      <a:round/>
                      <a:headEnd type="none" w="med" len="med"/>
                      <a:tailEnd type="none" w="med" len="med"/>
                    </a:lnB>
                    <a:solidFill>
                      <a:srgbClr val="CDECFF"/>
                    </a:solidFill>
                  </a:tcPr>
                </a:tc>
                <a:tc>
                  <a:txBody>
                    <a:bodyPr/>
                    <a:lstStyle/>
                    <a:p>
                      <a:r>
                        <a:rPr lang="en-US"/>
                        <a:t>0.60</a:t>
                      </a:r>
                    </a:p>
                  </a:txBody>
                  <a:tcPr>
                    <a:lnB w="9525" cap="flat" cmpd="sng" algn="ctr">
                      <a:solidFill>
                        <a:schemeClr val="tx1"/>
                      </a:solidFill>
                      <a:prstDash val="dash"/>
                      <a:round/>
                      <a:headEnd type="none" w="med" len="med"/>
                      <a:tailEnd type="none" w="med" len="med"/>
                    </a:lnB>
                    <a:solidFill>
                      <a:schemeClr val="bg2"/>
                    </a:solidFill>
                  </a:tcPr>
                </a:tc>
                <a:tc>
                  <a:txBody>
                    <a:bodyPr/>
                    <a:lstStyle/>
                    <a:p>
                      <a:r>
                        <a:rPr lang="en-US" sz="1400"/>
                        <a:t>0.76</a:t>
                      </a:r>
                    </a:p>
                  </a:txBody>
                  <a:tcPr>
                    <a:lnB w="9525" cap="flat" cmpd="sng" algn="ctr">
                      <a:solidFill>
                        <a:schemeClr val="tx1"/>
                      </a:solidFill>
                      <a:prstDash val="dash"/>
                      <a:round/>
                      <a:headEnd type="none" w="med" len="med"/>
                      <a:tailEnd type="none" w="med" len="med"/>
                    </a:lnB>
                    <a:solidFill>
                      <a:srgbClr val="92D050"/>
                    </a:solidFill>
                  </a:tcPr>
                </a:tc>
                <a:extLst>
                  <a:ext uri="{0D108BD9-81ED-4DB2-BD59-A6C34878D82A}">
                    <a16:rowId xmlns:a16="http://schemas.microsoft.com/office/drawing/2014/main" val="4054859052"/>
                  </a:ext>
                </a:extLst>
              </a:tr>
              <a:tr h="0">
                <a:tc>
                  <a:txBody>
                    <a:bodyPr/>
                    <a:lstStyle/>
                    <a:p>
                      <a:r>
                        <a:rPr lang="en-US"/>
                        <a:t>Precision</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CDECFF"/>
                    </a:solidFill>
                  </a:tcPr>
                </a:tc>
                <a:tc>
                  <a:txBody>
                    <a:bodyPr/>
                    <a:lstStyle/>
                    <a:p>
                      <a:r>
                        <a:rPr lang="en-US"/>
                        <a:t>0.65</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400"/>
                        <a:t>0.81</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92D050"/>
                    </a:solidFill>
                  </a:tcPr>
                </a:tc>
                <a:extLst>
                  <a:ext uri="{0D108BD9-81ED-4DB2-BD59-A6C34878D82A}">
                    <a16:rowId xmlns:a16="http://schemas.microsoft.com/office/drawing/2014/main" val="1514772852"/>
                  </a:ext>
                </a:extLst>
              </a:tr>
              <a:tr h="0">
                <a:tc>
                  <a:txBody>
                    <a:bodyPr/>
                    <a:lstStyle/>
                    <a:p>
                      <a:r>
                        <a:rPr lang="en-US"/>
                        <a:t>Recall</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CDECFF"/>
                    </a:solidFill>
                  </a:tcPr>
                </a:tc>
                <a:tc>
                  <a:txBody>
                    <a:bodyPr/>
                    <a:lstStyle/>
                    <a:p>
                      <a:r>
                        <a:rPr lang="en-US"/>
                        <a:t>0.65</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chemeClr val="bg2"/>
                    </a:solidFill>
                  </a:tcPr>
                </a:tc>
                <a:tc>
                  <a:txBody>
                    <a:bodyPr/>
                    <a:lstStyle/>
                    <a:p>
                      <a:r>
                        <a:rPr lang="en-US" sz="1400"/>
                        <a:t>0.76</a:t>
                      </a:r>
                    </a:p>
                  </a:txBody>
                  <a:tcPr>
                    <a:lnT w="9525" cap="flat" cmpd="sng" algn="ctr">
                      <a:solidFill>
                        <a:schemeClr val="tx1"/>
                      </a:solidFill>
                      <a:prstDash val="dash"/>
                      <a:round/>
                      <a:headEnd type="none" w="med" len="med"/>
                      <a:tailEnd type="none" w="med" len="med"/>
                    </a:lnT>
                    <a:lnB w="9525" cap="flat" cmpd="sng" algn="ctr">
                      <a:solidFill>
                        <a:schemeClr val="tx1"/>
                      </a:solidFill>
                      <a:prstDash val="dash"/>
                      <a:round/>
                      <a:headEnd type="none" w="med" len="med"/>
                      <a:tailEnd type="none" w="med" len="med"/>
                    </a:lnB>
                    <a:solidFill>
                      <a:srgbClr val="92D050"/>
                    </a:solidFill>
                  </a:tcPr>
                </a:tc>
                <a:extLst>
                  <a:ext uri="{0D108BD9-81ED-4DB2-BD59-A6C34878D82A}">
                    <a16:rowId xmlns:a16="http://schemas.microsoft.com/office/drawing/2014/main" val="720771462"/>
                  </a:ext>
                </a:extLst>
              </a:tr>
              <a:tr h="0">
                <a:tc>
                  <a:txBody>
                    <a:bodyPr/>
                    <a:lstStyle/>
                    <a:p>
                      <a:r>
                        <a:rPr lang="en-US"/>
                        <a:t>F1-Score</a:t>
                      </a:r>
                    </a:p>
                  </a:txBody>
                  <a:tcPr>
                    <a:lnT w="9525" cap="flat" cmpd="sng" algn="ctr">
                      <a:solidFill>
                        <a:schemeClr val="tx1"/>
                      </a:solidFill>
                      <a:prstDash val="dash"/>
                      <a:round/>
                      <a:headEnd type="none" w="med" len="med"/>
                      <a:tailEnd type="none" w="med" len="med"/>
                    </a:lnT>
                    <a:solidFill>
                      <a:srgbClr val="CDECFF"/>
                    </a:solidFill>
                  </a:tcPr>
                </a:tc>
                <a:tc>
                  <a:txBody>
                    <a:bodyPr/>
                    <a:lstStyle/>
                    <a:p>
                      <a:r>
                        <a:rPr lang="en-US"/>
                        <a:t>0.65</a:t>
                      </a:r>
                    </a:p>
                  </a:txBody>
                  <a:tcPr>
                    <a:lnT w="9525" cap="flat" cmpd="sng" algn="ctr">
                      <a:solidFill>
                        <a:schemeClr val="tx1"/>
                      </a:solidFill>
                      <a:prstDash val="dash"/>
                      <a:round/>
                      <a:headEnd type="none" w="med" len="med"/>
                      <a:tailEnd type="none" w="med" len="med"/>
                    </a:lnT>
                    <a:solidFill>
                      <a:schemeClr val="bg2"/>
                    </a:solidFill>
                  </a:tcPr>
                </a:tc>
                <a:tc>
                  <a:txBody>
                    <a:bodyPr/>
                    <a:lstStyle/>
                    <a:p>
                      <a:r>
                        <a:rPr lang="en-US" sz="1400"/>
                        <a:t>0.78</a:t>
                      </a:r>
                    </a:p>
                  </a:txBody>
                  <a:tcPr>
                    <a:lnT w="9525" cap="flat" cmpd="sng" algn="ctr">
                      <a:solidFill>
                        <a:schemeClr val="tx1"/>
                      </a:solidFill>
                      <a:prstDash val="dash"/>
                      <a:round/>
                      <a:headEnd type="none" w="med" len="med"/>
                      <a:tailEnd type="none" w="med" len="med"/>
                    </a:lnT>
                    <a:solidFill>
                      <a:srgbClr val="92D050"/>
                    </a:solidFill>
                  </a:tcPr>
                </a:tc>
                <a:extLst>
                  <a:ext uri="{0D108BD9-81ED-4DB2-BD59-A6C34878D82A}">
                    <a16:rowId xmlns:a16="http://schemas.microsoft.com/office/drawing/2014/main" val="1988402657"/>
                  </a:ext>
                </a:extLst>
              </a:tr>
            </a:tbl>
          </a:graphicData>
        </a:graphic>
      </p:graphicFrame>
      <p:sp>
        <p:nvSpPr>
          <p:cNvPr id="14" name="Rechteck 13">
            <a:extLst>
              <a:ext uri="{FF2B5EF4-FFF2-40B4-BE49-F238E27FC236}">
                <a16:creationId xmlns:a16="http://schemas.microsoft.com/office/drawing/2014/main" id="{794F393A-F0D6-C00B-931C-973AFE443D5B}"/>
              </a:ext>
            </a:extLst>
          </p:cNvPr>
          <p:cNvSpPr/>
          <p:nvPr/>
        </p:nvSpPr>
        <p:spPr>
          <a:xfrm>
            <a:off x="5718628" y="2603167"/>
            <a:ext cx="6030460" cy="932089"/>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92000" tIns="72000" rIns="72000" bIns="72000" numCol="1" spcCol="38100" rtlCol="0" anchor="t">
            <a:noAutofit/>
          </a:bodyPr>
          <a:lstStyle/>
          <a:p>
            <a:pPr algn="just">
              <a:spcAft>
                <a:spcPts val="300"/>
              </a:spcAft>
            </a:pPr>
            <a:r>
              <a:rPr lang="en-US" sz="1400" b="1">
                <a:latin typeface="Helvetica" pitchFamily="2" charset="0"/>
                <a:sym typeface="Helvetica Neue"/>
              </a:rPr>
              <a:t>Metrics</a:t>
            </a:r>
          </a:p>
          <a:p>
            <a:pPr algn="just">
              <a:spcAft>
                <a:spcPts val="300"/>
              </a:spcAft>
            </a:pPr>
            <a:r>
              <a:rPr lang="en-US" sz="1200">
                <a:latin typeface="Helvetica" pitchFamily="2" charset="0"/>
                <a:sym typeface="Helvetica Neue"/>
              </a:rPr>
              <a:t>The superiority in all metrics ensures quicker and better diagnostics, enhancing medical decision-making and saving valuable time for healthcare professionals</a:t>
            </a:r>
            <a:r>
              <a:rPr lang="en-US" sz="1200" b="1">
                <a:latin typeface="Helvetica" pitchFamily="2" charset="0"/>
                <a:sym typeface="Helvetica Neue"/>
              </a:rPr>
              <a:t>.</a:t>
            </a:r>
            <a:r>
              <a:rPr lang="en-US" sz="1200">
                <a:latin typeface="Helvetica" pitchFamily="2" charset="0"/>
                <a:sym typeface="Helvetica Neue"/>
              </a:rPr>
              <a:t> </a:t>
            </a:r>
            <a:endParaRPr lang="en-US" sz="1200" b="1">
              <a:latin typeface="Helvetica" pitchFamily="2" charset="0"/>
              <a:sym typeface="Helvetica Neue"/>
            </a:endParaRPr>
          </a:p>
        </p:txBody>
      </p:sp>
      <p:sp>
        <p:nvSpPr>
          <p:cNvPr id="16" name="Rechteck 15">
            <a:extLst>
              <a:ext uri="{FF2B5EF4-FFF2-40B4-BE49-F238E27FC236}">
                <a16:creationId xmlns:a16="http://schemas.microsoft.com/office/drawing/2014/main" id="{DE1FC2D5-F315-BF1F-99DE-3E8D399889B6}"/>
              </a:ext>
            </a:extLst>
          </p:cNvPr>
          <p:cNvSpPr/>
          <p:nvPr/>
        </p:nvSpPr>
        <p:spPr>
          <a:xfrm>
            <a:off x="5718628" y="3685509"/>
            <a:ext cx="6030460" cy="932089"/>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92000" tIns="72000" rIns="72000" bIns="72000" numCol="1" spcCol="38100" rtlCol="0" anchor="t">
            <a:noAutofit/>
          </a:bodyPr>
          <a:lstStyle/>
          <a:p>
            <a:pPr algn="just">
              <a:spcAft>
                <a:spcPts val="300"/>
              </a:spcAft>
            </a:pPr>
            <a:r>
              <a:rPr lang="en-US" sz="1400" b="1">
                <a:latin typeface="Helvetica" pitchFamily="2" charset="0"/>
                <a:sym typeface="Helvetica Neue"/>
              </a:rPr>
              <a:t>Quality of Patient Care</a:t>
            </a:r>
          </a:p>
          <a:p>
            <a:pPr algn="just">
              <a:spcAft>
                <a:spcPts val="300"/>
              </a:spcAft>
            </a:pPr>
            <a:r>
              <a:rPr lang="en-US" sz="1200">
                <a:latin typeface="Helvetica" pitchFamily="2" charset="0"/>
                <a:sym typeface="Helvetica Neue"/>
              </a:rPr>
              <a:t>Adoption of </a:t>
            </a:r>
            <a:r>
              <a:rPr lang="en-US" sz="1200" err="1">
                <a:latin typeface="Helvetica" pitchFamily="2" charset="0"/>
                <a:sym typeface="Helvetica Neue"/>
              </a:rPr>
              <a:t>BloodCell</a:t>
            </a:r>
            <a:r>
              <a:rPr lang="en-US" sz="1200">
                <a:latin typeface="Helvetica" pitchFamily="2" charset="0"/>
                <a:sym typeface="Helvetica Neue"/>
              </a:rPr>
              <a:t> AI by medical facilities enhances the quality of patient care while optimizing resources, resulting in improved financials and operational efficiency.</a:t>
            </a:r>
          </a:p>
        </p:txBody>
      </p:sp>
      <p:sp>
        <p:nvSpPr>
          <p:cNvPr id="18" name="Rechteck 17">
            <a:extLst>
              <a:ext uri="{FF2B5EF4-FFF2-40B4-BE49-F238E27FC236}">
                <a16:creationId xmlns:a16="http://schemas.microsoft.com/office/drawing/2014/main" id="{A2CB465D-DA6C-A764-7DE2-8196AE2EF3C8}"/>
              </a:ext>
            </a:extLst>
          </p:cNvPr>
          <p:cNvSpPr/>
          <p:nvPr/>
        </p:nvSpPr>
        <p:spPr>
          <a:xfrm>
            <a:off x="5718628" y="4767852"/>
            <a:ext cx="6030460" cy="932089"/>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92000" tIns="72000" rIns="72000" bIns="72000" numCol="1" spcCol="38100" rtlCol="0" anchor="t">
            <a:noAutofit/>
          </a:bodyPr>
          <a:lstStyle/>
          <a:p>
            <a:pPr algn="just">
              <a:spcAft>
                <a:spcPts val="300"/>
              </a:spcAft>
            </a:pPr>
            <a:r>
              <a:rPr lang="en-US" sz="1400" b="1">
                <a:latin typeface="Helvetica" pitchFamily="2" charset="0"/>
                <a:sym typeface="Helvetica Neue"/>
              </a:rPr>
              <a:t>Strategic Investment</a:t>
            </a:r>
          </a:p>
          <a:p>
            <a:pPr algn="just">
              <a:spcAft>
                <a:spcPts val="300"/>
              </a:spcAft>
            </a:pPr>
            <a:r>
              <a:rPr lang="en-US" sz="1200">
                <a:latin typeface="Helvetica" pitchFamily="2" charset="0"/>
                <a:sym typeface="Helvetica Neue"/>
              </a:rPr>
              <a:t>Incorporating </a:t>
            </a:r>
            <a:r>
              <a:rPr lang="en-US" sz="1200" err="1">
                <a:latin typeface="Helvetica" pitchFamily="2" charset="0"/>
                <a:sym typeface="Helvetica Neue"/>
              </a:rPr>
              <a:t>BloodCell</a:t>
            </a:r>
            <a:r>
              <a:rPr lang="en-US" sz="1200">
                <a:latin typeface="Helvetica" pitchFamily="2" charset="0"/>
                <a:sym typeface="Helvetica Neue"/>
              </a:rPr>
              <a:t> AI into medical practice represents a strategic investment in both patient outcomes and organizational effectiveness.</a:t>
            </a:r>
          </a:p>
        </p:txBody>
      </p:sp>
      <p:pic>
        <p:nvPicPr>
          <p:cNvPr id="31" name="Grafik 30" descr="Geld mit einfarbiger Füllung">
            <a:extLst>
              <a:ext uri="{FF2B5EF4-FFF2-40B4-BE49-F238E27FC236}">
                <a16:creationId xmlns:a16="http://schemas.microsoft.com/office/drawing/2014/main" id="{9CDD57CD-B86C-5A37-54C6-59C6ACBAA5F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08000" y="4945896"/>
            <a:ext cx="576000" cy="576000"/>
          </a:xfrm>
          <a:prstGeom prst="rect">
            <a:avLst/>
          </a:prstGeom>
        </p:spPr>
      </p:pic>
      <p:pic>
        <p:nvPicPr>
          <p:cNvPr id="35" name="Grafik 34" descr="Boxhandschuh mit einfarbiger Füllung">
            <a:extLst>
              <a:ext uri="{FF2B5EF4-FFF2-40B4-BE49-F238E27FC236}">
                <a16:creationId xmlns:a16="http://schemas.microsoft.com/office/drawing/2014/main" id="{2FE7E26B-BE1D-94D6-BCBA-E8408F149E7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08000" y="1698869"/>
            <a:ext cx="576000" cy="576000"/>
          </a:xfrm>
          <a:prstGeom prst="rect">
            <a:avLst/>
          </a:prstGeom>
        </p:spPr>
      </p:pic>
      <p:grpSp>
        <p:nvGrpSpPr>
          <p:cNvPr id="38" name="Gruppieren 37">
            <a:extLst>
              <a:ext uri="{FF2B5EF4-FFF2-40B4-BE49-F238E27FC236}">
                <a16:creationId xmlns:a16="http://schemas.microsoft.com/office/drawing/2014/main" id="{F47F96C3-47C8-0904-2EE1-3FFE79320F3C}"/>
              </a:ext>
            </a:extLst>
          </p:cNvPr>
          <p:cNvGrpSpPr/>
          <p:nvPr/>
        </p:nvGrpSpPr>
        <p:grpSpPr>
          <a:xfrm>
            <a:off x="5862000" y="3867772"/>
            <a:ext cx="468000" cy="576000"/>
            <a:chOff x="4827902" y="3798525"/>
            <a:chExt cx="647101" cy="771522"/>
          </a:xfrm>
        </p:grpSpPr>
        <p:sp>
          <p:nvSpPr>
            <p:cNvPr id="37" name="Grafik 24" descr="Schild mit einfarbiger Füllung">
              <a:extLst>
                <a:ext uri="{FF2B5EF4-FFF2-40B4-BE49-F238E27FC236}">
                  <a16:creationId xmlns:a16="http://schemas.microsoft.com/office/drawing/2014/main" id="{FC960318-609C-62AB-D22E-33BAA20909BE}"/>
                </a:ext>
              </a:extLst>
            </p:cNvPr>
            <p:cNvSpPr/>
            <p:nvPr/>
          </p:nvSpPr>
          <p:spPr>
            <a:xfrm>
              <a:off x="4827902" y="3798525"/>
              <a:ext cx="647101" cy="771522"/>
            </a:xfrm>
            <a:custGeom>
              <a:avLst/>
              <a:gdLst>
                <a:gd name="connsiteX0" fmla="*/ 350588 w 647101"/>
                <a:gd name="connsiteY0" fmla="*/ 12383 h 771522"/>
                <a:gd name="connsiteX1" fmla="*/ 614163 w 647101"/>
                <a:gd name="connsiteY1" fmla="*/ 141408 h 771522"/>
                <a:gd name="connsiteX2" fmla="*/ 647101 w 647101"/>
                <a:gd name="connsiteY2" fmla="*/ 177841 h 771522"/>
                <a:gd name="connsiteX3" fmla="*/ 647101 w 647101"/>
                <a:gd name="connsiteY3" fmla="*/ 269796 h 771522"/>
                <a:gd name="connsiteX4" fmla="*/ 343453 w 647101"/>
                <a:gd name="connsiteY4" fmla="*/ 765686 h 771522"/>
                <a:gd name="connsiteX5" fmla="*/ 303648 w 647101"/>
                <a:gd name="connsiteY5" fmla="*/ 765686 h 771522"/>
                <a:gd name="connsiteX6" fmla="*/ 1 w 647101"/>
                <a:gd name="connsiteY6" fmla="*/ 269796 h 771522"/>
                <a:gd name="connsiteX7" fmla="*/ 1 w 647101"/>
                <a:gd name="connsiteY7" fmla="*/ 177841 h 771522"/>
                <a:gd name="connsiteX8" fmla="*/ 32938 w 647101"/>
                <a:gd name="connsiteY8" fmla="*/ 141408 h 771522"/>
                <a:gd name="connsiteX9" fmla="*/ 296514 w 647101"/>
                <a:gd name="connsiteY9" fmla="*/ 12383 h 771522"/>
                <a:gd name="connsiteX10" fmla="*/ 346879 w 647101"/>
                <a:gd name="connsiteY10" fmla="*/ 8673 h 771522"/>
                <a:gd name="connsiteX11" fmla="*/ 350588 w 647101"/>
                <a:gd name="connsiteY11" fmla="*/ 12383 h 771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7101" h="771522">
                  <a:moveTo>
                    <a:pt x="350588" y="12383"/>
                  </a:moveTo>
                  <a:cubicBezTo>
                    <a:pt x="418930" y="87226"/>
                    <a:pt x="513133" y="133340"/>
                    <a:pt x="614163" y="141408"/>
                  </a:cubicBezTo>
                  <a:cubicBezTo>
                    <a:pt x="632932" y="143167"/>
                    <a:pt x="647237" y="158990"/>
                    <a:pt x="647101" y="177841"/>
                  </a:cubicBezTo>
                  <a:lnTo>
                    <a:pt x="647101" y="269796"/>
                  </a:lnTo>
                  <a:cubicBezTo>
                    <a:pt x="647101" y="469678"/>
                    <a:pt x="519971" y="652539"/>
                    <a:pt x="343453" y="765686"/>
                  </a:cubicBezTo>
                  <a:cubicBezTo>
                    <a:pt x="331326" y="773468"/>
                    <a:pt x="315776" y="773468"/>
                    <a:pt x="303648" y="765686"/>
                  </a:cubicBezTo>
                  <a:cubicBezTo>
                    <a:pt x="127131" y="652539"/>
                    <a:pt x="1" y="469678"/>
                    <a:pt x="1" y="269796"/>
                  </a:cubicBezTo>
                  <a:lnTo>
                    <a:pt x="1" y="177841"/>
                  </a:lnTo>
                  <a:cubicBezTo>
                    <a:pt x="-135" y="158990"/>
                    <a:pt x="14169" y="143167"/>
                    <a:pt x="32938" y="141408"/>
                  </a:cubicBezTo>
                  <a:cubicBezTo>
                    <a:pt x="133969" y="133340"/>
                    <a:pt x="228172" y="87226"/>
                    <a:pt x="296514" y="12383"/>
                  </a:cubicBezTo>
                  <a:cubicBezTo>
                    <a:pt x="309398" y="-2549"/>
                    <a:pt x="331946" y="-4210"/>
                    <a:pt x="346879" y="8673"/>
                  </a:cubicBezTo>
                  <a:cubicBezTo>
                    <a:pt x="348204" y="9817"/>
                    <a:pt x="349444" y="11057"/>
                    <a:pt x="350588" y="12383"/>
                  </a:cubicBezTo>
                  <a:close/>
                </a:path>
              </a:pathLst>
            </a:custGeom>
            <a:solidFill>
              <a:srgbClr val="000000"/>
            </a:solidFill>
            <a:ln w="9525" cap="flat">
              <a:noFill/>
              <a:prstDash val="solid"/>
              <a:miter/>
            </a:ln>
          </p:spPr>
          <p:txBody>
            <a:bodyPr rtlCol="0" anchor="ctr"/>
            <a:lstStyle/>
            <a:p>
              <a:endParaRPr lang="en-US"/>
            </a:p>
          </p:txBody>
        </p:sp>
        <p:sp>
          <p:nvSpPr>
            <p:cNvPr id="36" name="Grafik 20" descr="Abzeichen Tick1 mit einfarbiger Füllung">
              <a:extLst>
                <a:ext uri="{FF2B5EF4-FFF2-40B4-BE49-F238E27FC236}">
                  <a16:creationId xmlns:a16="http://schemas.microsoft.com/office/drawing/2014/main" id="{B7EF04B1-3707-3B58-F4CB-1868C9CCD09F}"/>
                </a:ext>
              </a:extLst>
            </p:cNvPr>
            <p:cNvSpPr/>
            <p:nvPr/>
          </p:nvSpPr>
          <p:spPr>
            <a:xfrm>
              <a:off x="4970178" y="3998550"/>
              <a:ext cx="361749" cy="361749"/>
            </a:xfrm>
            <a:custGeom>
              <a:avLst/>
              <a:gdLst>
                <a:gd name="connsiteX0" fmla="*/ 180875 w 361749"/>
                <a:gd name="connsiteY0" fmla="*/ 0 h 361749"/>
                <a:gd name="connsiteX1" fmla="*/ 0 w 361749"/>
                <a:gd name="connsiteY1" fmla="*/ 180875 h 361749"/>
                <a:gd name="connsiteX2" fmla="*/ 180875 w 361749"/>
                <a:gd name="connsiteY2" fmla="*/ 361750 h 361749"/>
                <a:gd name="connsiteX3" fmla="*/ 361750 w 361749"/>
                <a:gd name="connsiteY3" fmla="*/ 180875 h 361749"/>
                <a:gd name="connsiteX4" fmla="*/ 361750 w 361749"/>
                <a:gd name="connsiteY4" fmla="*/ 180861 h 361749"/>
                <a:gd name="connsiteX5" fmla="*/ 181013 w 361749"/>
                <a:gd name="connsiteY5" fmla="*/ 0 h 361749"/>
                <a:gd name="connsiteX6" fmla="*/ 180875 w 361749"/>
                <a:gd name="connsiteY6" fmla="*/ 0 h 361749"/>
                <a:gd name="connsiteX7" fmla="*/ 224690 w 361749"/>
                <a:gd name="connsiteY7" fmla="*/ 189514 h 361749"/>
                <a:gd name="connsiteX8" fmla="*/ 145156 w 361749"/>
                <a:gd name="connsiteY8" fmla="*/ 269129 h 361749"/>
                <a:gd name="connsiteX9" fmla="*/ 77005 w 361749"/>
                <a:gd name="connsiteY9" fmla="*/ 200978 h 361749"/>
                <a:gd name="connsiteX10" fmla="*/ 99774 w 361749"/>
                <a:gd name="connsiteY10" fmla="*/ 178208 h 361749"/>
                <a:gd name="connsiteX11" fmla="*/ 145156 w 361749"/>
                <a:gd name="connsiteY11" fmla="*/ 223590 h 361749"/>
                <a:gd name="connsiteX12" fmla="*/ 210879 w 361749"/>
                <a:gd name="connsiteY12" fmla="*/ 157015 h 361749"/>
                <a:gd name="connsiteX13" fmla="*/ 267272 w 361749"/>
                <a:gd name="connsiteY13" fmla="*/ 101336 h 361749"/>
                <a:gd name="connsiteX14" fmla="*/ 269324 w 361749"/>
                <a:gd name="connsiteY14" fmla="*/ 99431 h 361749"/>
                <a:gd name="connsiteX15" fmla="*/ 271229 w 361749"/>
                <a:gd name="connsiteY15" fmla="*/ 97374 h 361749"/>
                <a:gd name="connsiteX16" fmla="*/ 294318 w 361749"/>
                <a:gd name="connsiteY16" fmla="*/ 120144 h 361749"/>
                <a:gd name="connsiteX17" fmla="*/ 224685 w 361749"/>
                <a:gd name="connsiteY17" fmla="*/ 189500 h 36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1749" h="361749">
                  <a:moveTo>
                    <a:pt x="180875" y="0"/>
                  </a:moveTo>
                  <a:cubicBezTo>
                    <a:pt x="80981" y="0"/>
                    <a:pt x="0" y="80981"/>
                    <a:pt x="0" y="180875"/>
                  </a:cubicBezTo>
                  <a:cubicBezTo>
                    <a:pt x="0" y="280769"/>
                    <a:pt x="80981" y="361750"/>
                    <a:pt x="180875" y="361750"/>
                  </a:cubicBezTo>
                  <a:cubicBezTo>
                    <a:pt x="280769" y="361750"/>
                    <a:pt x="361750" y="280769"/>
                    <a:pt x="361750" y="180875"/>
                  </a:cubicBezTo>
                  <a:cubicBezTo>
                    <a:pt x="361750" y="180870"/>
                    <a:pt x="361750" y="180865"/>
                    <a:pt x="361750" y="180861"/>
                  </a:cubicBezTo>
                  <a:cubicBezTo>
                    <a:pt x="361784" y="81008"/>
                    <a:pt x="280866" y="34"/>
                    <a:pt x="181013" y="0"/>
                  </a:cubicBezTo>
                  <a:cubicBezTo>
                    <a:pt x="180967" y="0"/>
                    <a:pt x="180921" y="0"/>
                    <a:pt x="180875" y="0"/>
                  </a:cubicBezTo>
                  <a:close/>
                  <a:moveTo>
                    <a:pt x="224690" y="189514"/>
                  </a:moveTo>
                  <a:cubicBezTo>
                    <a:pt x="198338" y="215819"/>
                    <a:pt x="171826" y="242357"/>
                    <a:pt x="145156" y="269129"/>
                  </a:cubicBezTo>
                  <a:cubicBezTo>
                    <a:pt x="122493" y="246358"/>
                    <a:pt x="99776" y="223641"/>
                    <a:pt x="77005" y="200978"/>
                  </a:cubicBezTo>
                  <a:lnTo>
                    <a:pt x="99774" y="178208"/>
                  </a:lnTo>
                  <a:lnTo>
                    <a:pt x="145156" y="223590"/>
                  </a:lnTo>
                  <a:cubicBezTo>
                    <a:pt x="167188" y="201241"/>
                    <a:pt x="189095" y="179050"/>
                    <a:pt x="210879" y="157015"/>
                  </a:cubicBezTo>
                  <a:cubicBezTo>
                    <a:pt x="232648" y="134984"/>
                    <a:pt x="244693" y="123158"/>
                    <a:pt x="267272" y="101336"/>
                  </a:cubicBezTo>
                  <a:cubicBezTo>
                    <a:pt x="267905" y="100703"/>
                    <a:pt x="268586" y="100074"/>
                    <a:pt x="269324" y="99431"/>
                  </a:cubicBezTo>
                  <a:cubicBezTo>
                    <a:pt x="270039" y="98825"/>
                    <a:pt x="270679" y="98134"/>
                    <a:pt x="271229" y="97374"/>
                  </a:cubicBezTo>
                  <a:lnTo>
                    <a:pt x="294318" y="120144"/>
                  </a:lnTo>
                  <a:cubicBezTo>
                    <a:pt x="267500" y="146814"/>
                    <a:pt x="251041" y="163197"/>
                    <a:pt x="224685" y="189500"/>
                  </a:cubicBezTo>
                  <a:close/>
                </a:path>
              </a:pathLst>
            </a:custGeom>
            <a:solidFill>
              <a:schemeClr val="bg1"/>
            </a:solidFill>
            <a:ln w="4763" cap="flat">
              <a:noFill/>
              <a:prstDash val="solid"/>
              <a:miter/>
            </a:ln>
          </p:spPr>
          <p:txBody>
            <a:bodyPr rtlCol="0" anchor="ctr"/>
            <a:lstStyle/>
            <a:p>
              <a:endParaRPr lang="en-US"/>
            </a:p>
          </p:txBody>
        </p:sp>
      </p:grpSp>
      <p:cxnSp>
        <p:nvCxnSpPr>
          <p:cNvPr id="7" name="Gerade Verbindung mit Pfeil 6">
            <a:extLst>
              <a:ext uri="{FF2B5EF4-FFF2-40B4-BE49-F238E27FC236}">
                <a16:creationId xmlns:a16="http://schemas.microsoft.com/office/drawing/2014/main" id="{5BDEEEDE-4D97-A33B-F629-3B131B38A352}"/>
              </a:ext>
            </a:extLst>
          </p:cNvPr>
          <p:cNvCxnSpPr>
            <a:cxnSpLocks/>
            <a:stCxn id="4" idx="3"/>
            <a:endCxn id="8" idx="1"/>
          </p:cNvCxnSpPr>
          <p:nvPr/>
        </p:nvCxnSpPr>
        <p:spPr>
          <a:xfrm flipV="1">
            <a:off x="3976391" y="1986870"/>
            <a:ext cx="1742237" cy="1615920"/>
          </a:xfrm>
          <a:prstGeom prst="straightConnector1">
            <a:avLst/>
          </a:prstGeom>
          <a:noFill/>
          <a:ln w="76200" cap="flat">
            <a:solidFill>
              <a:srgbClr val="CDECFF"/>
            </a:solidFill>
            <a:prstDash val="solid"/>
            <a:miter lim="400000"/>
            <a:tailEnd type="triangle" w="lg" len="med"/>
          </a:ln>
          <a:effectLst/>
          <a:sp3d/>
        </p:spPr>
        <p:style>
          <a:lnRef idx="0">
            <a:scrgbClr r="0" g="0" b="0"/>
          </a:lnRef>
          <a:fillRef idx="0">
            <a:scrgbClr r="0" g="0" b="0"/>
          </a:fillRef>
          <a:effectRef idx="0">
            <a:scrgbClr r="0" g="0" b="0"/>
          </a:effectRef>
          <a:fontRef idx="none"/>
        </p:style>
      </p:cxnSp>
      <p:cxnSp>
        <p:nvCxnSpPr>
          <p:cNvPr id="13" name="Gerade Verbindung mit Pfeil 12">
            <a:extLst>
              <a:ext uri="{FF2B5EF4-FFF2-40B4-BE49-F238E27FC236}">
                <a16:creationId xmlns:a16="http://schemas.microsoft.com/office/drawing/2014/main" id="{B7FC79AE-271B-DF66-C1C0-F7EEDEF06E7F}"/>
              </a:ext>
            </a:extLst>
          </p:cNvPr>
          <p:cNvCxnSpPr>
            <a:cxnSpLocks/>
            <a:stCxn id="4" idx="3"/>
            <a:endCxn id="14" idx="1"/>
          </p:cNvCxnSpPr>
          <p:nvPr/>
        </p:nvCxnSpPr>
        <p:spPr>
          <a:xfrm flipV="1">
            <a:off x="3976391" y="3069212"/>
            <a:ext cx="1742237" cy="533578"/>
          </a:xfrm>
          <a:prstGeom prst="straightConnector1">
            <a:avLst/>
          </a:prstGeom>
          <a:noFill/>
          <a:ln w="76200" cap="flat">
            <a:solidFill>
              <a:srgbClr val="CDECFF"/>
            </a:solidFill>
            <a:prstDash val="solid"/>
            <a:miter lim="400000"/>
            <a:tailEnd type="triangle" w="lg" len="med"/>
          </a:ln>
          <a:effectLst/>
          <a:sp3d/>
        </p:spPr>
        <p:style>
          <a:lnRef idx="0">
            <a:scrgbClr r="0" g="0" b="0"/>
          </a:lnRef>
          <a:fillRef idx="0">
            <a:scrgbClr r="0" g="0" b="0"/>
          </a:fillRef>
          <a:effectRef idx="0">
            <a:scrgbClr r="0" g="0" b="0"/>
          </a:effectRef>
          <a:fontRef idx="none"/>
        </p:style>
      </p:cxnSp>
      <p:cxnSp>
        <p:nvCxnSpPr>
          <p:cNvPr id="22" name="Gerade Verbindung mit Pfeil 21">
            <a:extLst>
              <a:ext uri="{FF2B5EF4-FFF2-40B4-BE49-F238E27FC236}">
                <a16:creationId xmlns:a16="http://schemas.microsoft.com/office/drawing/2014/main" id="{23431DE2-72E7-B6B3-89C6-74813ACBFED3}"/>
              </a:ext>
            </a:extLst>
          </p:cNvPr>
          <p:cNvCxnSpPr>
            <a:cxnSpLocks/>
            <a:stCxn id="4" idx="3"/>
            <a:endCxn id="16" idx="1"/>
          </p:cNvCxnSpPr>
          <p:nvPr/>
        </p:nvCxnSpPr>
        <p:spPr>
          <a:xfrm>
            <a:off x="3976391" y="3602790"/>
            <a:ext cx="1742237" cy="548764"/>
          </a:xfrm>
          <a:prstGeom prst="straightConnector1">
            <a:avLst/>
          </a:prstGeom>
          <a:noFill/>
          <a:ln w="76200" cap="flat">
            <a:solidFill>
              <a:srgbClr val="CDECFF"/>
            </a:solidFill>
            <a:prstDash val="solid"/>
            <a:miter lim="400000"/>
            <a:tailEnd type="triangle" w="lg" len="med"/>
          </a:ln>
          <a:effectLst/>
          <a:sp3d/>
        </p:spPr>
        <p:style>
          <a:lnRef idx="0">
            <a:scrgbClr r="0" g="0" b="0"/>
          </a:lnRef>
          <a:fillRef idx="0">
            <a:scrgbClr r="0" g="0" b="0"/>
          </a:fillRef>
          <a:effectRef idx="0">
            <a:scrgbClr r="0" g="0" b="0"/>
          </a:effectRef>
          <a:fontRef idx="none"/>
        </p:style>
      </p:cxnSp>
      <p:cxnSp>
        <p:nvCxnSpPr>
          <p:cNvPr id="25" name="Gerade Verbindung mit Pfeil 24">
            <a:extLst>
              <a:ext uri="{FF2B5EF4-FFF2-40B4-BE49-F238E27FC236}">
                <a16:creationId xmlns:a16="http://schemas.microsoft.com/office/drawing/2014/main" id="{C22D1266-494A-8DBF-1946-98F06D3516B6}"/>
              </a:ext>
            </a:extLst>
          </p:cNvPr>
          <p:cNvCxnSpPr>
            <a:cxnSpLocks/>
            <a:stCxn id="4" idx="3"/>
            <a:endCxn id="18" idx="1"/>
          </p:cNvCxnSpPr>
          <p:nvPr/>
        </p:nvCxnSpPr>
        <p:spPr>
          <a:xfrm>
            <a:off x="3976391" y="3602790"/>
            <a:ext cx="1742237" cy="1631107"/>
          </a:xfrm>
          <a:prstGeom prst="straightConnector1">
            <a:avLst/>
          </a:prstGeom>
          <a:noFill/>
          <a:ln w="76200" cap="flat">
            <a:solidFill>
              <a:srgbClr val="CDECFF"/>
            </a:solidFill>
            <a:prstDash val="solid"/>
            <a:miter lim="400000"/>
            <a:tailEnd type="triangle" w="lg" len="med"/>
          </a:ln>
          <a:effectLst/>
          <a:sp3d/>
        </p:spPr>
        <p:style>
          <a:lnRef idx="0">
            <a:scrgbClr r="0" g="0" b="0"/>
          </a:lnRef>
          <a:fillRef idx="0">
            <a:scrgbClr r="0" g="0" b="0"/>
          </a:fillRef>
          <a:effectRef idx="0">
            <a:scrgbClr r="0" g="0" b="0"/>
          </a:effectRef>
          <a:fontRef idx="none"/>
        </p:style>
      </p:cxnSp>
      <p:pic>
        <p:nvPicPr>
          <p:cNvPr id="29" name="Grafik 28" descr="Diagramm mit Hockeyschlägerkurve mit einfarbiger Füllung">
            <a:extLst>
              <a:ext uri="{FF2B5EF4-FFF2-40B4-BE49-F238E27FC236}">
                <a16:creationId xmlns:a16="http://schemas.microsoft.com/office/drawing/2014/main" id="{E94C1805-FF27-F1ED-6517-DBB1AD383E2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08000" y="2779891"/>
            <a:ext cx="576000" cy="576000"/>
          </a:xfrm>
          <a:prstGeom prst="rect">
            <a:avLst/>
          </a:prstGeom>
        </p:spPr>
      </p:pic>
      <p:pic>
        <p:nvPicPr>
          <p:cNvPr id="5" name="Picture 4" descr="A logo with red and blue colors&#10;&#10;Description automatically generated">
            <a:extLst>
              <a:ext uri="{FF2B5EF4-FFF2-40B4-BE49-F238E27FC236}">
                <a16:creationId xmlns:a16="http://schemas.microsoft.com/office/drawing/2014/main" id="{33674119-F76B-000C-041B-1709482D7BF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967327" y="1970666"/>
            <a:ext cx="824164" cy="824164"/>
          </a:xfrm>
          <a:prstGeom prst="ellipse">
            <a:avLst/>
          </a:prstGeom>
        </p:spPr>
      </p:pic>
      <p:pic>
        <p:nvPicPr>
          <p:cNvPr id="10" name="Picture 9">
            <a:extLst>
              <a:ext uri="{FF2B5EF4-FFF2-40B4-BE49-F238E27FC236}">
                <a16:creationId xmlns:a16="http://schemas.microsoft.com/office/drawing/2014/main" id="{E4FC71E2-1F3B-2BBF-1075-D3F0E6212276}"/>
              </a:ext>
            </a:extLst>
          </p:cNvPr>
          <p:cNvPicPr>
            <a:picLocks noChangeAspect="1"/>
          </p:cNvPicPr>
          <p:nvPr/>
        </p:nvPicPr>
        <p:blipFill>
          <a:blip r:embed="rId12">
            <a:extLst>
              <a:ext uri="{28A0092B-C50C-407E-A947-70E740481C1C}">
                <a14:useLocalDpi xmlns:a14="http://schemas.microsoft.com/office/drawing/2010/main" val="0"/>
              </a:ext>
            </a:extLst>
          </a:blip>
          <a:srcRect l="312" r="312"/>
          <a:stretch/>
        </p:blipFill>
        <p:spPr>
          <a:xfrm>
            <a:off x="1827667" y="1970666"/>
            <a:ext cx="824164" cy="824164"/>
          </a:xfrm>
          <a:prstGeom prst="ellipse">
            <a:avLst/>
          </a:prstGeom>
        </p:spPr>
      </p:pic>
    </p:spTree>
    <p:extLst>
      <p:ext uri="{BB962C8B-B14F-4D97-AF65-F5344CB8AC3E}">
        <p14:creationId xmlns:p14="http://schemas.microsoft.com/office/powerpoint/2010/main" val="57775926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7857DC1-B240-2014-FF35-005F90715DFD}"/>
              </a:ext>
            </a:extLst>
          </p:cNvPr>
          <p:cNvSpPr>
            <a:spLocks noGrp="1"/>
          </p:cNvSpPr>
          <p:nvPr>
            <p:ph type="body" sz="quarter" idx="14"/>
          </p:nvPr>
        </p:nvSpPr>
        <p:spPr/>
        <p:txBody>
          <a:bodyPr/>
          <a:lstStyle/>
          <a:p>
            <a:r>
              <a:rPr lang="en-US"/>
              <a:t>Modeling</a:t>
            </a:r>
          </a:p>
        </p:txBody>
      </p:sp>
      <p:sp>
        <p:nvSpPr>
          <p:cNvPr id="3" name="Textplatzhalter 2">
            <a:extLst>
              <a:ext uri="{FF2B5EF4-FFF2-40B4-BE49-F238E27FC236}">
                <a16:creationId xmlns:a16="http://schemas.microsoft.com/office/drawing/2014/main" id="{281105C5-44E1-6128-D52F-2586EB705ADC}"/>
              </a:ext>
            </a:extLst>
          </p:cNvPr>
          <p:cNvSpPr>
            <a:spLocks noGrp="1"/>
          </p:cNvSpPr>
          <p:nvPr>
            <p:ph type="body" sz="quarter" idx="15"/>
          </p:nvPr>
        </p:nvSpPr>
        <p:spPr/>
        <p:txBody>
          <a:bodyPr/>
          <a:lstStyle/>
          <a:p>
            <a:r>
              <a:rPr lang="en-US"/>
              <a:t>Model Selection (1/2 – Baseline and Benchmark)</a:t>
            </a:r>
          </a:p>
        </p:txBody>
      </p:sp>
      <p:sp>
        <p:nvSpPr>
          <p:cNvPr id="25" name="TextBox 127">
            <a:extLst>
              <a:ext uri="{FF2B5EF4-FFF2-40B4-BE49-F238E27FC236}">
                <a16:creationId xmlns:a16="http://schemas.microsoft.com/office/drawing/2014/main" id="{12D031E1-BCC9-6A6C-E447-886C99E9219B}"/>
              </a:ext>
            </a:extLst>
          </p:cNvPr>
          <p:cNvSpPr txBox="1"/>
          <p:nvPr/>
        </p:nvSpPr>
        <p:spPr>
          <a:xfrm>
            <a:off x="627321" y="1629241"/>
            <a:ext cx="10909005" cy="3959880"/>
          </a:xfrm>
          <a:prstGeom prst="rect">
            <a:avLst/>
          </a:prstGeom>
          <a:noFill/>
          <a:ln w="3175">
            <a:solidFill>
              <a:schemeClr val="tx1"/>
            </a:solidFill>
          </a:ln>
          <a:effectLst/>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Rectangle 37">
            <a:extLst>
              <a:ext uri="{FF2B5EF4-FFF2-40B4-BE49-F238E27FC236}">
                <a16:creationId xmlns:a16="http://schemas.microsoft.com/office/drawing/2014/main" id="{7C34C81C-2E6B-C07A-C933-A03FC915262D}"/>
              </a:ext>
            </a:extLst>
          </p:cNvPr>
          <p:cNvSpPr/>
          <p:nvPr/>
        </p:nvSpPr>
        <p:spPr>
          <a:xfrm>
            <a:off x="981441" y="1509585"/>
            <a:ext cx="10241923" cy="4187952"/>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33" name="Rectangle 32">
            <a:extLst>
              <a:ext uri="{FF2B5EF4-FFF2-40B4-BE49-F238E27FC236}">
                <a16:creationId xmlns:a16="http://schemas.microsoft.com/office/drawing/2014/main" id="{BF1E37F2-53C6-5945-DECC-F3229F8569E1}"/>
              </a:ext>
            </a:extLst>
          </p:cNvPr>
          <p:cNvSpPr/>
          <p:nvPr/>
        </p:nvSpPr>
        <p:spPr>
          <a:xfrm>
            <a:off x="986356" y="1520825"/>
            <a:ext cx="3702601" cy="4176712"/>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914400" bIns="72000" numCol="1" spcCol="38100" rtlCol="0" anchor="t">
            <a:noAutofit/>
          </a:bodyPr>
          <a:lstStyle/>
          <a:p>
            <a:pPr marL="171450" indent="-171450" algn="l">
              <a:spcAft>
                <a:spcPts val="1200"/>
              </a:spcAft>
              <a:buFont typeface="Arial" panose="020B0604020202020204" pitchFamily="34" charset="0"/>
              <a:buChar char="•"/>
            </a:pPr>
            <a:r>
              <a:rPr lang="en-US" sz="1100" b="1" i="0">
                <a:effectLst/>
                <a:latin typeface="Helvetica" pitchFamily="2" charset="0"/>
              </a:rPr>
              <a:t>Convolutional Layers</a:t>
            </a:r>
            <a:r>
              <a:rPr lang="en-US" sz="1100" b="0" i="0">
                <a:effectLst/>
                <a:latin typeface="Helvetica" pitchFamily="2" charset="0"/>
              </a:rPr>
              <a:t>: Three layers with filters increasing from 32 to 128, all using 3×33×3 kernels and </a:t>
            </a:r>
            <a:r>
              <a:rPr lang="en-US" sz="1100" b="0" i="0" err="1">
                <a:effectLst/>
                <a:latin typeface="Helvetica" pitchFamily="2" charset="0"/>
              </a:rPr>
              <a:t>ReLU</a:t>
            </a:r>
            <a:r>
              <a:rPr lang="en-US" sz="1100" b="0" i="0">
                <a:effectLst/>
                <a:latin typeface="Helvetica" pitchFamily="2" charset="0"/>
              </a:rPr>
              <a:t> activation. Each convolutional layer is followed by a 2×22×2 max pooling layer to reduce spatial dimensions.</a:t>
            </a:r>
          </a:p>
          <a:p>
            <a:pPr marL="171450" indent="-171450" algn="l">
              <a:spcAft>
                <a:spcPts val="1200"/>
              </a:spcAft>
              <a:buFont typeface="Arial" panose="020B0604020202020204" pitchFamily="34" charset="0"/>
              <a:buChar char="•"/>
            </a:pPr>
            <a:r>
              <a:rPr lang="en-US" sz="1100" b="1" i="0">
                <a:effectLst/>
                <a:latin typeface="Helvetica" pitchFamily="2" charset="0"/>
              </a:rPr>
              <a:t>Flatten Layer</a:t>
            </a:r>
            <a:r>
              <a:rPr lang="en-US" sz="1100" b="0" i="0">
                <a:effectLst/>
                <a:latin typeface="Helvetica" pitchFamily="2" charset="0"/>
              </a:rPr>
              <a:t>: Converts the 3D output to a 1D vector for the dense layers.</a:t>
            </a:r>
          </a:p>
          <a:p>
            <a:pPr marL="171450" indent="-171450" algn="l">
              <a:spcAft>
                <a:spcPts val="1200"/>
              </a:spcAft>
              <a:buFont typeface="Arial" panose="020B0604020202020204" pitchFamily="34" charset="0"/>
              <a:buChar char="•"/>
            </a:pPr>
            <a:r>
              <a:rPr lang="en-US" sz="1100" b="1" i="0">
                <a:effectLst/>
                <a:latin typeface="Helvetica" pitchFamily="2" charset="0"/>
              </a:rPr>
              <a:t>Dense Layers</a:t>
            </a:r>
            <a:r>
              <a:rPr lang="en-US" sz="1100" b="0" i="0">
                <a:effectLst/>
                <a:latin typeface="Helvetica" pitchFamily="2" charset="0"/>
              </a:rPr>
              <a:t>: One dense layer with 128 units and </a:t>
            </a:r>
            <a:r>
              <a:rPr lang="en-US" sz="1100" b="0" i="0" err="1">
                <a:effectLst/>
                <a:latin typeface="Helvetica" pitchFamily="2" charset="0"/>
              </a:rPr>
              <a:t>ReLU</a:t>
            </a:r>
            <a:r>
              <a:rPr lang="en-US" sz="1100" b="0" i="0">
                <a:effectLst/>
                <a:latin typeface="Helvetica" pitchFamily="2" charset="0"/>
              </a:rPr>
              <a:t> activation, followed by an output layer with </a:t>
            </a:r>
            <a:r>
              <a:rPr lang="en-US" sz="1100" b="0" i="0" err="1">
                <a:effectLst/>
                <a:latin typeface="Helvetica" pitchFamily="2" charset="0"/>
              </a:rPr>
              <a:t>softmax</a:t>
            </a:r>
            <a:r>
              <a:rPr lang="en-US" sz="1100" b="0" i="0">
                <a:effectLst/>
                <a:latin typeface="Helvetica" pitchFamily="2" charset="0"/>
              </a:rPr>
              <a:t> activation designed for multi-class classification based on the number of classes (</a:t>
            </a:r>
            <a:r>
              <a:rPr lang="en-US" sz="1100" b="0" i="0" err="1">
                <a:effectLst/>
                <a:latin typeface="Helvetica" pitchFamily="2" charset="0"/>
              </a:rPr>
              <a:t>num_classes</a:t>
            </a:r>
            <a:r>
              <a:rPr lang="en-US" sz="1100" b="0" i="0">
                <a:effectLst/>
                <a:latin typeface="Helvetica" pitchFamily="2" charset="0"/>
              </a:rPr>
              <a:t>).</a:t>
            </a:r>
          </a:p>
        </p:txBody>
      </p:sp>
      <p:sp>
        <p:nvSpPr>
          <p:cNvPr id="35" name="Rectangle 34">
            <a:extLst>
              <a:ext uri="{FF2B5EF4-FFF2-40B4-BE49-F238E27FC236}">
                <a16:creationId xmlns:a16="http://schemas.microsoft.com/office/drawing/2014/main" id="{06EFCC93-5283-ABF7-F032-636F4C7ABE75}"/>
              </a:ext>
            </a:extLst>
          </p:cNvPr>
          <p:cNvSpPr/>
          <p:nvPr/>
        </p:nvSpPr>
        <p:spPr>
          <a:xfrm>
            <a:off x="7583737" y="1520825"/>
            <a:ext cx="3639627" cy="4176712"/>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0" tIns="72000" rIns="72000" bIns="72000" numCol="1" spcCol="38100" rtlCol="0" anchor="t">
            <a:noAutofit/>
          </a:bodyPr>
          <a:lstStyle/>
          <a:p>
            <a:pPr marL="171450" indent="-171450" algn="l">
              <a:spcAft>
                <a:spcPts val="1200"/>
              </a:spcAft>
              <a:buFont typeface="Arial" panose="020B0604020202020204" pitchFamily="34" charset="0"/>
              <a:buChar char="•"/>
            </a:pPr>
            <a:r>
              <a:rPr lang="en-US" sz="1100" b="1" i="0">
                <a:effectLst/>
                <a:latin typeface="Helvetica" pitchFamily="2" charset="0"/>
              </a:rPr>
              <a:t>Convolutional Layers</a:t>
            </a:r>
            <a:r>
              <a:rPr lang="en-US" sz="1100" b="0" i="0">
                <a:effectLst/>
                <a:latin typeface="Helvetica" pitchFamily="2" charset="0"/>
              </a:rPr>
              <a:t>: Multiple layers with increasing filter sizes from 128 up to 512, using 3×33×3 to 8×88×8 kernels, </a:t>
            </a:r>
            <a:r>
              <a:rPr lang="en-US" sz="1100" b="0" i="0" err="1">
                <a:effectLst/>
                <a:latin typeface="Helvetica" pitchFamily="2" charset="0"/>
              </a:rPr>
              <a:t>ReLU</a:t>
            </a:r>
            <a:r>
              <a:rPr lang="en-US" sz="1100" b="0" i="0">
                <a:effectLst/>
                <a:latin typeface="Helvetica" pitchFamily="2" charset="0"/>
              </a:rPr>
              <a:t> activation, and same padding. Each layer is followed by batch normalization.</a:t>
            </a:r>
          </a:p>
          <a:p>
            <a:pPr marL="171450" indent="-171450" algn="l">
              <a:spcAft>
                <a:spcPts val="1200"/>
              </a:spcAft>
              <a:buFont typeface="Arial" panose="020B0604020202020204" pitchFamily="34" charset="0"/>
              <a:buChar char="•"/>
            </a:pPr>
            <a:r>
              <a:rPr lang="en-US" sz="1100" b="1" i="0">
                <a:effectLst/>
                <a:latin typeface="Helvetica" pitchFamily="2" charset="0"/>
              </a:rPr>
              <a:t>Pooling Layers</a:t>
            </a:r>
            <a:r>
              <a:rPr lang="en-US" sz="1100" b="0" i="0">
                <a:effectLst/>
                <a:latin typeface="Helvetica" pitchFamily="2" charset="0"/>
              </a:rPr>
              <a:t>: Max pooling applied after specific convolution layers to reduce spatial dimensions.</a:t>
            </a:r>
          </a:p>
          <a:p>
            <a:pPr marL="171450" indent="-171450" algn="l">
              <a:spcAft>
                <a:spcPts val="1200"/>
              </a:spcAft>
              <a:buFont typeface="Arial" panose="020B0604020202020204" pitchFamily="34" charset="0"/>
              <a:buChar char="•"/>
            </a:pPr>
            <a:r>
              <a:rPr lang="en-US" sz="1100" b="1" i="0">
                <a:effectLst/>
                <a:latin typeface="Helvetica" pitchFamily="2" charset="0"/>
              </a:rPr>
              <a:t>Flatten Layer</a:t>
            </a:r>
            <a:r>
              <a:rPr lang="en-US" sz="1100" b="0" i="0">
                <a:effectLst/>
                <a:latin typeface="Helvetica" pitchFamily="2" charset="0"/>
              </a:rPr>
              <a:t>: Converts the multi-dimensional output of the last convolutional layers into a flat vector.</a:t>
            </a:r>
          </a:p>
          <a:p>
            <a:pPr marL="171450" indent="-171450" algn="l">
              <a:spcAft>
                <a:spcPts val="1200"/>
              </a:spcAft>
              <a:buFont typeface="Arial" panose="020B0604020202020204" pitchFamily="34" charset="0"/>
              <a:buChar char="•"/>
            </a:pPr>
            <a:r>
              <a:rPr lang="en-US" sz="1100" b="1" i="0">
                <a:effectLst/>
                <a:latin typeface="Helvetica" pitchFamily="2" charset="0"/>
              </a:rPr>
              <a:t>Dense Layers</a:t>
            </a:r>
            <a:r>
              <a:rPr lang="en-US" sz="1100" b="0" i="0">
                <a:effectLst/>
                <a:latin typeface="Helvetica" pitchFamily="2" charset="0"/>
              </a:rPr>
              <a:t>: Two dense layers, each with 1024 units and </a:t>
            </a:r>
            <a:r>
              <a:rPr lang="en-US" sz="1100" b="0" i="0" err="1">
                <a:effectLst/>
                <a:latin typeface="Helvetica" pitchFamily="2" charset="0"/>
              </a:rPr>
              <a:t>ReLU</a:t>
            </a:r>
            <a:r>
              <a:rPr lang="en-US" sz="1100" b="0" i="0">
                <a:effectLst/>
                <a:latin typeface="Helvetica" pitchFamily="2" charset="0"/>
              </a:rPr>
              <a:t> activation, separated by 50% dropout layers to prevent overfitting.</a:t>
            </a:r>
          </a:p>
          <a:p>
            <a:pPr marL="171450" indent="-171450" algn="l">
              <a:spcAft>
                <a:spcPts val="1200"/>
              </a:spcAft>
              <a:buFont typeface="Arial" panose="020B0604020202020204" pitchFamily="34" charset="0"/>
              <a:buChar char="•"/>
            </a:pPr>
            <a:r>
              <a:rPr lang="en-US" sz="1100" b="1" i="0">
                <a:effectLst/>
                <a:latin typeface="Helvetica" pitchFamily="2" charset="0"/>
              </a:rPr>
              <a:t>Output Layer</a:t>
            </a:r>
            <a:r>
              <a:rPr lang="en-US" sz="1100" b="0" i="0">
                <a:effectLst/>
                <a:latin typeface="Helvetica" pitchFamily="2" charset="0"/>
              </a:rPr>
              <a:t>: </a:t>
            </a:r>
            <a:r>
              <a:rPr lang="en-US" sz="1100" b="0" i="0" err="1">
                <a:effectLst/>
                <a:latin typeface="Helvetica" pitchFamily="2" charset="0"/>
              </a:rPr>
              <a:t>Softmax</a:t>
            </a:r>
            <a:r>
              <a:rPr lang="en-US" sz="1100" b="0" i="0">
                <a:effectLst/>
                <a:latin typeface="Helvetica" pitchFamily="2" charset="0"/>
              </a:rPr>
              <a:t> layer with 4 outputs for multi-class classification.</a:t>
            </a:r>
          </a:p>
        </p:txBody>
      </p:sp>
      <p:sp>
        <p:nvSpPr>
          <p:cNvPr id="26" name="Freeform 528">
            <a:extLst>
              <a:ext uri="{FF2B5EF4-FFF2-40B4-BE49-F238E27FC236}">
                <a16:creationId xmlns:a16="http://schemas.microsoft.com/office/drawing/2014/main" id="{B1BCEB6F-87C1-A1AA-8841-E93859402C9F}"/>
              </a:ext>
            </a:extLst>
          </p:cNvPr>
          <p:cNvSpPr>
            <a:spLocks noChangeArrowheads="1"/>
          </p:cNvSpPr>
          <p:nvPr/>
        </p:nvSpPr>
        <p:spPr bwMode="auto">
          <a:xfrm>
            <a:off x="460633" y="2095930"/>
            <a:ext cx="347441" cy="2677710"/>
          </a:xfrm>
          <a:custGeom>
            <a:avLst/>
            <a:gdLst>
              <a:gd name="T0" fmla="*/ 822 w 823"/>
              <a:gd name="T1" fmla="*/ 6968 h 6969"/>
              <a:gd name="T2" fmla="*/ 0 w 823"/>
              <a:gd name="T3" fmla="*/ 6968 h 6969"/>
              <a:gd name="T4" fmla="*/ 0 w 823"/>
              <a:gd name="T5" fmla="*/ 0 h 6969"/>
              <a:gd name="T6" fmla="*/ 822 w 823"/>
              <a:gd name="T7" fmla="*/ 0 h 6969"/>
              <a:gd name="T8" fmla="*/ 822 w 823"/>
              <a:gd name="T9" fmla="*/ 6968 h 6969"/>
            </a:gdLst>
            <a:ahLst/>
            <a:cxnLst>
              <a:cxn ang="0">
                <a:pos x="T0" y="T1"/>
              </a:cxn>
              <a:cxn ang="0">
                <a:pos x="T2" y="T3"/>
              </a:cxn>
              <a:cxn ang="0">
                <a:pos x="T4" y="T5"/>
              </a:cxn>
              <a:cxn ang="0">
                <a:pos x="T6" y="T7"/>
              </a:cxn>
              <a:cxn ang="0">
                <a:pos x="T8" y="T9"/>
              </a:cxn>
            </a:cxnLst>
            <a:rect l="0" t="0" r="r" b="b"/>
            <a:pathLst>
              <a:path w="823" h="6969">
                <a:moveTo>
                  <a:pt x="822" y="6968"/>
                </a:moveTo>
                <a:lnTo>
                  <a:pt x="0" y="6968"/>
                </a:lnTo>
                <a:lnTo>
                  <a:pt x="0" y="0"/>
                </a:lnTo>
                <a:lnTo>
                  <a:pt x="822" y="0"/>
                </a:lnTo>
                <a:lnTo>
                  <a:pt x="822" y="6968"/>
                </a:lnTo>
              </a:path>
            </a:pathLst>
          </a:custGeom>
          <a:solidFill>
            <a:schemeClr val="bg1">
              <a:lumMod val="95000"/>
            </a:schemeClr>
          </a:solidFill>
          <a:effectLst/>
        </p:spPr>
        <p:txBody>
          <a:bodyPr vert="vert270" lIns="108000" tIns="72000" rIns="72000" bIns="72000" anchor="ctr"/>
          <a:lstStyle/>
          <a:p>
            <a:pPr algn="ctr"/>
            <a:r>
              <a:rPr lang="en-US" sz="1200" b="1">
                <a:latin typeface="Verdana" panose="020B0604030504040204" pitchFamily="34" charset="0"/>
                <a:ea typeface="Verdana" panose="020B0604030504040204" pitchFamily="34" charset="0"/>
                <a:cs typeface="Verdana" panose="020B0604030504040204" pitchFamily="34" charset="0"/>
              </a:rPr>
              <a:t>Baseline Model</a:t>
            </a:r>
          </a:p>
        </p:txBody>
      </p:sp>
      <p:sp>
        <p:nvSpPr>
          <p:cNvPr id="32" name="Freeform 528">
            <a:extLst>
              <a:ext uri="{FF2B5EF4-FFF2-40B4-BE49-F238E27FC236}">
                <a16:creationId xmlns:a16="http://schemas.microsoft.com/office/drawing/2014/main" id="{C9396762-2F4F-4182-B719-471EFF50460C}"/>
              </a:ext>
            </a:extLst>
          </p:cNvPr>
          <p:cNvSpPr>
            <a:spLocks noChangeArrowheads="1"/>
          </p:cNvSpPr>
          <p:nvPr/>
        </p:nvSpPr>
        <p:spPr bwMode="auto">
          <a:xfrm flipV="1">
            <a:off x="11401647" y="2095930"/>
            <a:ext cx="347441" cy="2677710"/>
          </a:xfrm>
          <a:custGeom>
            <a:avLst/>
            <a:gdLst>
              <a:gd name="T0" fmla="*/ 822 w 823"/>
              <a:gd name="T1" fmla="*/ 6968 h 6969"/>
              <a:gd name="T2" fmla="*/ 0 w 823"/>
              <a:gd name="T3" fmla="*/ 6968 h 6969"/>
              <a:gd name="T4" fmla="*/ 0 w 823"/>
              <a:gd name="T5" fmla="*/ 0 h 6969"/>
              <a:gd name="T6" fmla="*/ 822 w 823"/>
              <a:gd name="T7" fmla="*/ 0 h 6969"/>
              <a:gd name="T8" fmla="*/ 822 w 823"/>
              <a:gd name="T9" fmla="*/ 6968 h 6969"/>
            </a:gdLst>
            <a:ahLst/>
            <a:cxnLst>
              <a:cxn ang="0">
                <a:pos x="T0" y="T1"/>
              </a:cxn>
              <a:cxn ang="0">
                <a:pos x="T2" y="T3"/>
              </a:cxn>
              <a:cxn ang="0">
                <a:pos x="T4" y="T5"/>
              </a:cxn>
              <a:cxn ang="0">
                <a:pos x="T6" y="T7"/>
              </a:cxn>
              <a:cxn ang="0">
                <a:pos x="T8" y="T9"/>
              </a:cxn>
            </a:cxnLst>
            <a:rect l="0" t="0" r="r" b="b"/>
            <a:pathLst>
              <a:path w="823" h="6969">
                <a:moveTo>
                  <a:pt x="822" y="6968"/>
                </a:moveTo>
                <a:lnTo>
                  <a:pt x="0" y="6968"/>
                </a:lnTo>
                <a:lnTo>
                  <a:pt x="0" y="0"/>
                </a:lnTo>
                <a:lnTo>
                  <a:pt x="822" y="0"/>
                </a:lnTo>
                <a:lnTo>
                  <a:pt x="822" y="6968"/>
                </a:lnTo>
              </a:path>
            </a:pathLst>
          </a:custGeom>
          <a:solidFill>
            <a:schemeClr val="bg1">
              <a:lumMod val="95000"/>
            </a:schemeClr>
          </a:solidFill>
          <a:effectLst/>
        </p:spPr>
        <p:txBody>
          <a:bodyPr vert="vert270" lIns="108000" tIns="72000" rIns="72000" bIns="72000" anchor="ctr"/>
          <a:lstStyle/>
          <a:p>
            <a:pPr algn="ctr"/>
            <a:r>
              <a:rPr lang="en-US" sz="1200" b="1">
                <a:latin typeface="Verdana" panose="020B0604030504040204" pitchFamily="34" charset="0"/>
                <a:ea typeface="Verdana" panose="020B0604030504040204" pitchFamily="34" charset="0"/>
                <a:cs typeface="Verdana" panose="020B0604030504040204" pitchFamily="34" charset="0"/>
              </a:rPr>
              <a:t>Benchmark Model (Kaggle)</a:t>
            </a:r>
          </a:p>
        </p:txBody>
      </p:sp>
      <p:grpSp>
        <p:nvGrpSpPr>
          <p:cNvPr id="39" name="Group 38">
            <a:extLst>
              <a:ext uri="{FF2B5EF4-FFF2-40B4-BE49-F238E27FC236}">
                <a16:creationId xmlns:a16="http://schemas.microsoft.com/office/drawing/2014/main" id="{CB686884-6D37-8472-496F-6F096CC1EF34}"/>
              </a:ext>
            </a:extLst>
          </p:cNvPr>
          <p:cNvGrpSpPr/>
          <p:nvPr/>
        </p:nvGrpSpPr>
        <p:grpSpPr>
          <a:xfrm>
            <a:off x="3881136" y="1520824"/>
            <a:ext cx="4447449" cy="4187952"/>
            <a:chOff x="3881136" y="1520824"/>
            <a:chExt cx="4447449" cy="4187952"/>
          </a:xfrm>
        </p:grpSpPr>
        <p:grpSp>
          <p:nvGrpSpPr>
            <p:cNvPr id="37" name="Group 36">
              <a:extLst>
                <a:ext uri="{FF2B5EF4-FFF2-40B4-BE49-F238E27FC236}">
                  <a16:creationId xmlns:a16="http://schemas.microsoft.com/office/drawing/2014/main" id="{0C24295C-C43C-8B49-454B-9BF7456E5DBB}"/>
                </a:ext>
              </a:extLst>
            </p:cNvPr>
            <p:cNvGrpSpPr/>
            <p:nvPr/>
          </p:nvGrpSpPr>
          <p:grpSpPr>
            <a:xfrm>
              <a:off x="3881136" y="1520824"/>
              <a:ext cx="4447449" cy="4187952"/>
              <a:chOff x="3880564" y="1520824"/>
              <a:chExt cx="4447449" cy="4187952"/>
            </a:xfrm>
          </p:grpSpPr>
          <p:pic>
            <p:nvPicPr>
              <p:cNvPr id="1026" name="Picture 2">
                <a:extLst>
                  <a:ext uri="{FF2B5EF4-FFF2-40B4-BE49-F238E27FC236}">
                    <a16:creationId xmlns:a16="http://schemas.microsoft.com/office/drawing/2014/main" id="{C476E7D2-24B8-B4F2-1DE2-396B924A3F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0564" y="1520824"/>
                <a:ext cx="1617984" cy="4187952"/>
              </a:xfrm>
              <a:prstGeom prst="rect">
                <a:avLst/>
              </a:prstGeom>
              <a:noFill/>
              <a:ln>
                <a:noFill/>
              </a:ln>
              <a:effectLst>
                <a:outerShdw blurRad="50800" dist="38100" dir="13500000" algn="b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36" name="Group 35">
                <a:extLst>
                  <a:ext uri="{FF2B5EF4-FFF2-40B4-BE49-F238E27FC236}">
                    <a16:creationId xmlns:a16="http://schemas.microsoft.com/office/drawing/2014/main" id="{B23A74EF-0963-3931-2890-5C458CBEF29B}"/>
                  </a:ext>
                </a:extLst>
              </p:cNvPr>
              <p:cNvGrpSpPr/>
              <p:nvPr/>
            </p:nvGrpSpPr>
            <p:grpSpPr>
              <a:xfrm>
                <a:off x="5499692" y="1520825"/>
                <a:ext cx="1209833" cy="4176712"/>
                <a:chOff x="5491085" y="1520825"/>
                <a:chExt cx="1209833" cy="4176712"/>
              </a:xfrm>
            </p:grpSpPr>
            <p:sp>
              <p:nvSpPr>
                <p:cNvPr id="28" name="Freeform 69">
                  <a:extLst>
                    <a:ext uri="{FF2B5EF4-FFF2-40B4-BE49-F238E27FC236}">
                      <a16:creationId xmlns:a16="http://schemas.microsoft.com/office/drawing/2014/main" id="{A6952BAB-2978-94AF-F9FB-C5B979017767}"/>
                    </a:ext>
                  </a:extLst>
                </p:cNvPr>
                <p:cNvSpPr>
                  <a:spLocks noChangeArrowheads="1"/>
                </p:cNvSpPr>
                <p:nvPr/>
              </p:nvSpPr>
              <p:spPr bwMode="auto">
                <a:xfrm>
                  <a:off x="5491085" y="1520825"/>
                  <a:ext cx="518232" cy="4176712"/>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rgbClr val="CDECFF"/>
                </a:solidFill>
                <a:ln>
                  <a:noFill/>
                </a:ln>
                <a:effectLst/>
              </p:spPr>
              <p:txBody>
                <a:bodyPr wrap="none" anchor="ctr"/>
                <a:lstStyle/>
                <a:p>
                  <a:endParaRPr lang="en-US" sz="1200"/>
                </a:p>
              </p:txBody>
            </p:sp>
            <p:sp>
              <p:nvSpPr>
                <p:cNvPr id="30" name="Freeform 300">
                  <a:extLst>
                    <a:ext uri="{FF2B5EF4-FFF2-40B4-BE49-F238E27FC236}">
                      <a16:creationId xmlns:a16="http://schemas.microsoft.com/office/drawing/2014/main" id="{C3516504-7086-A1C6-E708-83FF81423D1D}"/>
                    </a:ext>
                  </a:extLst>
                </p:cNvPr>
                <p:cNvSpPr>
                  <a:spLocks noChangeArrowheads="1"/>
                </p:cNvSpPr>
                <p:nvPr/>
              </p:nvSpPr>
              <p:spPr bwMode="auto">
                <a:xfrm>
                  <a:off x="6182685" y="1520825"/>
                  <a:ext cx="518233" cy="4176712"/>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rgbClr val="CDECFF"/>
                </a:solidFill>
                <a:ln>
                  <a:noFill/>
                </a:ln>
                <a:effectLst/>
              </p:spPr>
              <p:txBody>
                <a:bodyPr wrap="none" anchor="ctr"/>
                <a:lstStyle/>
                <a:p>
                  <a:endParaRPr lang="en-US" sz="1200"/>
                </a:p>
              </p:txBody>
            </p:sp>
          </p:grpSp>
          <p:sp>
            <p:nvSpPr>
              <p:cNvPr id="34" name="Rectangle 33">
                <a:extLst>
                  <a:ext uri="{FF2B5EF4-FFF2-40B4-BE49-F238E27FC236}">
                    <a16:creationId xmlns:a16="http://schemas.microsoft.com/office/drawing/2014/main" id="{A1B30F78-82F9-D37A-95D1-1B8332B3EC03}"/>
                  </a:ext>
                </a:extLst>
              </p:cNvPr>
              <p:cNvSpPr/>
              <p:nvPr/>
            </p:nvSpPr>
            <p:spPr>
              <a:xfrm>
                <a:off x="6709525" y="1520824"/>
                <a:ext cx="1618488" cy="4187952"/>
              </a:xfrm>
              <a:prstGeom prst="rect">
                <a:avLst/>
              </a:prstGeom>
              <a:solidFill>
                <a:schemeClr val="bg1"/>
              </a:solidFill>
              <a:ln w="12700" cap="flat">
                <a:noFill/>
                <a:miter lim="400000"/>
              </a:ln>
              <a:effectLst>
                <a:outerShdw blurRad="50800" dist="38100" dir="18900000" algn="b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grpSp>
        <p:pic>
          <p:nvPicPr>
            <p:cNvPr id="1028" name="Picture 4">
              <a:extLst>
                <a:ext uri="{FF2B5EF4-FFF2-40B4-BE49-F238E27FC236}">
                  <a16:creationId xmlns:a16="http://schemas.microsoft.com/office/drawing/2014/main" id="{530068FD-6E73-7F45-F4A2-26822A3B2292}"/>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22161" y="1520824"/>
              <a:ext cx="594360" cy="4176713"/>
            </a:xfrm>
            <a:prstGeom prst="rect">
              <a:avLst/>
            </a:prstGeom>
            <a:noFill/>
            <a:extLst>
              <a:ext uri="{909E8E84-426E-40DD-AFC4-6F175D3DCCD1}">
                <a14:hiddenFill xmlns:a14="http://schemas.microsoft.com/office/drawing/2010/main">
                  <a:solidFill>
                    <a:srgbClr val="FFFFFF"/>
                  </a:solidFill>
                </a14:hiddenFill>
              </a:ext>
            </a:extLst>
          </p:spPr>
        </p:pic>
      </p:grpSp>
      <p:sp>
        <p:nvSpPr>
          <p:cNvPr id="40" name="Oval 39">
            <a:extLst>
              <a:ext uri="{FF2B5EF4-FFF2-40B4-BE49-F238E27FC236}">
                <a16:creationId xmlns:a16="http://schemas.microsoft.com/office/drawing/2014/main" id="{0829BD89-A558-8CFF-948B-D30E476C0424}"/>
              </a:ext>
            </a:extLst>
          </p:cNvPr>
          <p:cNvSpPr/>
          <p:nvPr/>
        </p:nvSpPr>
        <p:spPr>
          <a:xfrm>
            <a:off x="5622508" y="3146361"/>
            <a:ext cx="914400" cy="914400"/>
          </a:xfrm>
          <a:prstGeom prst="ellipse">
            <a:avLst/>
          </a:prstGeom>
          <a:solidFill>
            <a:schemeClr val="bg1"/>
          </a:solidFill>
          <a:ln w="28575" cap="flat">
            <a:solidFill>
              <a:srgbClr val="D5D5D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pic>
        <p:nvPicPr>
          <p:cNvPr id="41" name="Graphic 40" descr="Gears with solid fill">
            <a:extLst>
              <a:ext uri="{FF2B5EF4-FFF2-40B4-BE49-F238E27FC236}">
                <a16:creationId xmlns:a16="http://schemas.microsoft.com/office/drawing/2014/main" id="{B00BD151-7B3C-E981-0BAE-94658BE99AA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3003" y="3146361"/>
            <a:ext cx="914400" cy="914400"/>
          </a:xfrm>
          <a:prstGeom prst="rect">
            <a:avLst/>
          </a:prstGeom>
        </p:spPr>
      </p:pic>
    </p:spTree>
    <p:extLst>
      <p:ext uri="{BB962C8B-B14F-4D97-AF65-F5344CB8AC3E}">
        <p14:creationId xmlns:p14="http://schemas.microsoft.com/office/powerpoint/2010/main" val="3250682429"/>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7857DC1-B240-2014-FF35-005F90715DFD}"/>
              </a:ext>
            </a:extLst>
          </p:cNvPr>
          <p:cNvSpPr>
            <a:spLocks noGrp="1"/>
          </p:cNvSpPr>
          <p:nvPr>
            <p:ph type="body" sz="quarter" idx="14"/>
          </p:nvPr>
        </p:nvSpPr>
        <p:spPr/>
        <p:txBody>
          <a:bodyPr/>
          <a:lstStyle/>
          <a:p>
            <a:r>
              <a:rPr lang="en-US"/>
              <a:t>Modeling</a:t>
            </a:r>
          </a:p>
        </p:txBody>
      </p:sp>
      <p:sp>
        <p:nvSpPr>
          <p:cNvPr id="3" name="Textplatzhalter 2">
            <a:extLst>
              <a:ext uri="{FF2B5EF4-FFF2-40B4-BE49-F238E27FC236}">
                <a16:creationId xmlns:a16="http://schemas.microsoft.com/office/drawing/2014/main" id="{281105C5-44E1-6128-D52F-2586EB705ADC}"/>
              </a:ext>
            </a:extLst>
          </p:cNvPr>
          <p:cNvSpPr>
            <a:spLocks noGrp="1"/>
          </p:cNvSpPr>
          <p:nvPr>
            <p:ph type="body" sz="quarter" idx="15"/>
          </p:nvPr>
        </p:nvSpPr>
        <p:spPr/>
        <p:txBody>
          <a:bodyPr/>
          <a:lstStyle/>
          <a:p>
            <a:r>
              <a:rPr lang="en-US"/>
              <a:t>Model Selection (2/2 – Transfer Learning)</a:t>
            </a:r>
          </a:p>
        </p:txBody>
      </p:sp>
      <p:sp>
        <p:nvSpPr>
          <p:cNvPr id="25" name="Oval 24">
            <a:extLst>
              <a:ext uri="{FF2B5EF4-FFF2-40B4-BE49-F238E27FC236}">
                <a16:creationId xmlns:a16="http://schemas.microsoft.com/office/drawing/2014/main" id="{76DF08A3-48A1-89D8-93D6-FB64321854F3}"/>
              </a:ext>
            </a:extLst>
          </p:cNvPr>
          <p:cNvSpPr/>
          <p:nvPr/>
        </p:nvSpPr>
        <p:spPr>
          <a:xfrm>
            <a:off x="8553295" y="3237614"/>
            <a:ext cx="744279" cy="744279"/>
          </a:xfrm>
          <a:prstGeom prst="ellipse">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38" name="Rectangle 37">
            <a:extLst>
              <a:ext uri="{FF2B5EF4-FFF2-40B4-BE49-F238E27FC236}">
                <a16:creationId xmlns:a16="http://schemas.microsoft.com/office/drawing/2014/main" id="{6C0117FC-2767-5F1A-B667-FF404F562AD5}"/>
              </a:ext>
            </a:extLst>
          </p:cNvPr>
          <p:cNvSpPr/>
          <p:nvPr/>
        </p:nvSpPr>
        <p:spPr>
          <a:xfrm>
            <a:off x="8229005" y="3359887"/>
            <a:ext cx="1392858" cy="499731"/>
          </a:xfrm>
          <a:prstGeom prst="rect">
            <a:avLst/>
          </a:prstGeom>
          <a:solidFill>
            <a:srgbClr val="D5D5D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algn="ctr" defTabSz="825500" hangingPunct="0"/>
            <a:r>
              <a:rPr lang="en-US" sz="1400"/>
              <a:t>EfficientNet121</a:t>
            </a:r>
          </a:p>
        </p:txBody>
      </p:sp>
      <p:sp>
        <p:nvSpPr>
          <p:cNvPr id="45" name="Oval 44">
            <a:extLst>
              <a:ext uri="{FF2B5EF4-FFF2-40B4-BE49-F238E27FC236}">
                <a16:creationId xmlns:a16="http://schemas.microsoft.com/office/drawing/2014/main" id="{B41352A6-4BE5-989C-07DE-68BED8560FEE}"/>
              </a:ext>
            </a:extLst>
          </p:cNvPr>
          <p:cNvSpPr/>
          <p:nvPr/>
        </p:nvSpPr>
        <p:spPr>
          <a:xfrm>
            <a:off x="7140812" y="3237614"/>
            <a:ext cx="744279" cy="744279"/>
          </a:xfrm>
          <a:prstGeom prst="ellipse">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46" name="Rectangle 45">
            <a:extLst>
              <a:ext uri="{FF2B5EF4-FFF2-40B4-BE49-F238E27FC236}">
                <a16:creationId xmlns:a16="http://schemas.microsoft.com/office/drawing/2014/main" id="{6B243071-7D8F-941C-5C4F-3DBEA302D76A}"/>
              </a:ext>
            </a:extLst>
          </p:cNvPr>
          <p:cNvSpPr/>
          <p:nvPr/>
        </p:nvSpPr>
        <p:spPr>
          <a:xfrm>
            <a:off x="6816522" y="3359887"/>
            <a:ext cx="1392858" cy="499731"/>
          </a:xfrm>
          <a:prstGeom prst="rect">
            <a:avLst/>
          </a:prstGeom>
          <a:solidFill>
            <a:srgbClr val="D5D5D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algn="ctr" defTabSz="825500" hangingPunct="0"/>
            <a:r>
              <a:rPr lang="en-US" sz="1400"/>
              <a:t>DenseNet121</a:t>
            </a:r>
          </a:p>
        </p:txBody>
      </p:sp>
      <p:sp>
        <p:nvSpPr>
          <p:cNvPr id="48" name="Oval 47">
            <a:extLst>
              <a:ext uri="{FF2B5EF4-FFF2-40B4-BE49-F238E27FC236}">
                <a16:creationId xmlns:a16="http://schemas.microsoft.com/office/drawing/2014/main" id="{9D0C7E49-F035-E312-9F8A-5424F1B1CE1D}"/>
              </a:ext>
            </a:extLst>
          </p:cNvPr>
          <p:cNvSpPr/>
          <p:nvPr/>
        </p:nvSpPr>
        <p:spPr>
          <a:xfrm>
            <a:off x="5728329" y="3237614"/>
            <a:ext cx="744279" cy="744279"/>
          </a:xfrm>
          <a:prstGeom prst="ellipse">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49" name="Rectangle 48">
            <a:extLst>
              <a:ext uri="{FF2B5EF4-FFF2-40B4-BE49-F238E27FC236}">
                <a16:creationId xmlns:a16="http://schemas.microsoft.com/office/drawing/2014/main" id="{5B85CBCD-0215-DFC4-4728-1CFC09A18016}"/>
              </a:ext>
            </a:extLst>
          </p:cNvPr>
          <p:cNvSpPr/>
          <p:nvPr/>
        </p:nvSpPr>
        <p:spPr>
          <a:xfrm>
            <a:off x="5404039" y="3359887"/>
            <a:ext cx="1392858" cy="499731"/>
          </a:xfrm>
          <a:prstGeom prst="rect">
            <a:avLst/>
          </a:prstGeom>
          <a:solidFill>
            <a:srgbClr val="D5D5D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algn="ctr" defTabSz="825500" hangingPunct="0"/>
            <a:r>
              <a:rPr lang="en-US" sz="1400"/>
              <a:t>MobileNetV2</a:t>
            </a:r>
          </a:p>
        </p:txBody>
      </p:sp>
      <p:sp>
        <p:nvSpPr>
          <p:cNvPr id="51" name="Oval 50">
            <a:extLst>
              <a:ext uri="{FF2B5EF4-FFF2-40B4-BE49-F238E27FC236}">
                <a16:creationId xmlns:a16="http://schemas.microsoft.com/office/drawing/2014/main" id="{A7376AEA-E416-4E06-147C-5731000B2717}"/>
              </a:ext>
            </a:extLst>
          </p:cNvPr>
          <p:cNvSpPr/>
          <p:nvPr/>
        </p:nvSpPr>
        <p:spPr>
          <a:xfrm>
            <a:off x="4315846" y="3237614"/>
            <a:ext cx="744279" cy="744279"/>
          </a:xfrm>
          <a:prstGeom prst="ellipse">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52" name="Rectangle 51">
            <a:extLst>
              <a:ext uri="{FF2B5EF4-FFF2-40B4-BE49-F238E27FC236}">
                <a16:creationId xmlns:a16="http://schemas.microsoft.com/office/drawing/2014/main" id="{3578CCE7-5A4B-313C-3289-32A4E43D35D0}"/>
              </a:ext>
            </a:extLst>
          </p:cNvPr>
          <p:cNvSpPr/>
          <p:nvPr/>
        </p:nvSpPr>
        <p:spPr>
          <a:xfrm>
            <a:off x="3991556" y="3359887"/>
            <a:ext cx="1392858" cy="499731"/>
          </a:xfrm>
          <a:prstGeom prst="rect">
            <a:avLst/>
          </a:prstGeom>
          <a:solidFill>
            <a:srgbClr val="D5D5D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algn="ctr" defTabSz="825500" hangingPunct="0"/>
            <a:r>
              <a:rPr lang="en-US" sz="1400"/>
              <a:t>ResNet50 &amp; ResNet101</a:t>
            </a:r>
          </a:p>
        </p:txBody>
      </p:sp>
      <p:sp>
        <p:nvSpPr>
          <p:cNvPr id="54" name="Oval 53">
            <a:extLst>
              <a:ext uri="{FF2B5EF4-FFF2-40B4-BE49-F238E27FC236}">
                <a16:creationId xmlns:a16="http://schemas.microsoft.com/office/drawing/2014/main" id="{FEF88710-7FAE-3B59-7856-3250CAEC1DB9}"/>
              </a:ext>
            </a:extLst>
          </p:cNvPr>
          <p:cNvSpPr/>
          <p:nvPr/>
        </p:nvSpPr>
        <p:spPr>
          <a:xfrm>
            <a:off x="2903363" y="3237614"/>
            <a:ext cx="744279" cy="744279"/>
          </a:xfrm>
          <a:prstGeom prst="ellipse">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55" name="Rectangle 54">
            <a:extLst>
              <a:ext uri="{FF2B5EF4-FFF2-40B4-BE49-F238E27FC236}">
                <a16:creationId xmlns:a16="http://schemas.microsoft.com/office/drawing/2014/main" id="{024CD889-DCEF-AA1A-19A0-C444D4C2B80D}"/>
              </a:ext>
            </a:extLst>
          </p:cNvPr>
          <p:cNvSpPr/>
          <p:nvPr/>
        </p:nvSpPr>
        <p:spPr>
          <a:xfrm>
            <a:off x="2579073" y="3359887"/>
            <a:ext cx="1392858" cy="499731"/>
          </a:xfrm>
          <a:prstGeom prst="rect">
            <a:avLst/>
          </a:prstGeom>
          <a:solidFill>
            <a:srgbClr val="D5D5D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algn="ctr" defTabSz="825500" hangingPunct="0"/>
            <a:r>
              <a:rPr lang="en-US" sz="1400"/>
              <a:t>InceptionV3 &amp; </a:t>
            </a:r>
            <a:r>
              <a:rPr lang="en-US" sz="1400" err="1"/>
              <a:t>Xception</a:t>
            </a:r>
            <a:endParaRPr lang="en-US" sz="1400"/>
          </a:p>
        </p:txBody>
      </p:sp>
      <p:sp>
        <p:nvSpPr>
          <p:cNvPr id="57" name="Oval 56">
            <a:extLst>
              <a:ext uri="{FF2B5EF4-FFF2-40B4-BE49-F238E27FC236}">
                <a16:creationId xmlns:a16="http://schemas.microsoft.com/office/drawing/2014/main" id="{50EFC08F-0382-0779-8344-B04D4A745946}"/>
              </a:ext>
            </a:extLst>
          </p:cNvPr>
          <p:cNvSpPr/>
          <p:nvPr/>
        </p:nvSpPr>
        <p:spPr>
          <a:xfrm>
            <a:off x="1490880" y="3237614"/>
            <a:ext cx="744279" cy="744279"/>
          </a:xfrm>
          <a:prstGeom prst="ellipse">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58" name="Rectangle 57">
            <a:extLst>
              <a:ext uri="{FF2B5EF4-FFF2-40B4-BE49-F238E27FC236}">
                <a16:creationId xmlns:a16="http://schemas.microsoft.com/office/drawing/2014/main" id="{C0DEEB18-4A41-8630-7163-AA8DB648EA9D}"/>
              </a:ext>
            </a:extLst>
          </p:cNvPr>
          <p:cNvSpPr/>
          <p:nvPr/>
        </p:nvSpPr>
        <p:spPr>
          <a:xfrm>
            <a:off x="1166590" y="3359887"/>
            <a:ext cx="1392858" cy="499731"/>
          </a:xfrm>
          <a:prstGeom prst="rect">
            <a:avLst/>
          </a:prstGeom>
          <a:solidFill>
            <a:srgbClr val="D5D5D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algn="ctr" defTabSz="825500" hangingPunct="0"/>
            <a:r>
              <a:rPr lang="en-US" sz="1400"/>
              <a:t>VGG16 &amp; VGG19</a:t>
            </a:r>
          </a:p>
        </p:txBody>
      </p:sp>
      <p:sp>
        <p:nvSpPr>
          <p:cNvPr id="63" name="Oval 62">
            <a:extLst>
              <a:ext uri="{FF2B5EF4-FFF2-40B4-BE49-F238E27FC236}">
                <a16:creationId xmlns:a16="http://schemas.microsoft.com/office/drawing/2014/main" id="{15D38C12-D7FD-28C9-7CBE-40F479F3D46C}"/>
              </a:ext>
            </a:extLst>
          </p:cNvPr>
          <p:cNvSpPr/>
          <p:nvPr/>
        </p:nvSpPr>
        <p:spPr>
          <a:xfrm>
            <a:off x="9965778" y="3237614"/>
            <a:ext cx="744279" cy="744279"/>
          </a:xfrm>
          <a:prstGeom prst="ellipse">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64" name="Rectangle 63">
            <a:extLst>
              <a:ext uri="{FF2B5EF4-FFF2-40B4-BE49-F238E27FC236}">
                <a16:creationId xmlns:a16="http://schemas.microsoft.com/office/drawing/2014/main" id="{B03E975C-24B9-66F3-A72F-DC09132C4C72}"/>
              </a:ext>
            </a:extLst>
          </p:cNvPr>
          <p:cNvSpPr/>
          <p:nvPr/>
        </p:nvSpPr>
        <p:spPr>
          <a:xfrm>
            <a:off x="9641488" y="3359887"/>
            <a:ext cx="1392858" cy="499731"/>
          </a:xfrm>
          <a:prstGeom prst="rect">
            <a:avLst/>
          </a:prstGeom>
          <a:solidFill>
            <a:srgbClr val="D5D5D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algn="ctr" defTabSz="825500" hangingPunct="0"/>
            <a:r>
              <a:rPr lang="en-US" sz="1400" err="1"/>
              <a:t>NASNetMobile</a:t>
            </a:r>
            <a:endParaRPr lang="en-US" sz="1400"/>
          </a:p>
        </p:txBody>
      </p:sp>
      <p:cxnSp>
        <p:nvCxnSpPr>
          <p:cNvPr id="69" name="Straight Connector 68">
            <a:extLst>
              <a:ext uri="{FF2B5EF4-FFF2-40B4-BE49-F238E27FC236}">
                <a16:creationId xmlns:a16="http://schemas.microsoft.com/office/drawing/2014/main" id="{AF06998D-02B1-F2AE-BB1C-07DA2EC985ED}"/>
              </a:ext>
            </a:extLst>
          </p:cNvPr>
          <p:cNvCxnSpPr>
            <a:stCxn id="57" idx="0"/>
            <a:endCxn id="63" idx="0"/>
          </p:cNvCxnSpPr>
          <p:nvPr/>
        </p:nvCxnSpPr>
        <p:spPr>
          <a:xfrm>
            <a:off x="1863020" y="3237614"/>
            <a:ext cx="8474898" cy="0"/>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1" name="Straight Connector 70">
            <a:extLst>
              <a:ext uri="{FF2B5EF4-FFF2-40B4-BE49-F238E27FC236}">
                <a16:creationId xmlns:a16="http://schemas.microsoft.com/office/drawing/2014/main" id="{6ED19616-D825-65BC-09D4-D3BA3BE71D55}"/>
              </a:ext>
            </a:extLst>
          </p:cNvPr>
          <p:cNvCxnSpPr>
            <a:stCxn id="57" idx="4"/>
            <a:endCxn id="63" idx="4"/>
          </p:cNvCxnSpPr>
          <p:nvPr/>
        </p:nvCxnSpPr>
        <p:spPr>
          <a:xfrm>
            <a:off x="1863020" y="3981893"/>
            <a:ext cx="8474898" cy="0"/>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5" name="Straight Connector 74">
            <a:extLst>
              <a:ext uri="{FF2B5EF4-FFF2-40B4-BE49-F238E27FC236}">
                <a16:creationId xmlns:a16="http://schemas.microsoft.com/office/drawing/2014/main" id="{3CDA5D74-0A44-F2A0-B9B0-3E03358396E4}"/>
              </a:ext>
            </a:extLst>
          </p:cNvPr>
          <p:cNvCxnSpPr>
            <a:cxnSpLocks/>
          </p:cNvCxnSpPr>
          <p:nvPr/>
        </p:nvCxnSpPr>
        <p:spPr>
          <a:xfrm flipV="1">
            <a:off x="1873653" y="3125972"/>
            <a:ext cx="0" cy="111642"/>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6" name="Straight Connector 75">
            <a:extLst>
              <a:ext uri="{FF2B5EF4-FFF2-40B4-BE49-F238E27FC236}">
                <a16:creationId xmlns:a16="http://schemas.microsoft.com/office/drawing/2014/main" id="{0BD443D1-8B86-DAF2-053A-49B77773B897}"/>
              </a:ext>
            </a:extLst>
          </p:cNvPr>
          <p:cNvCxnSpPr>
            <a:cxnSpLocks/>
          </p:cNvCxnSpPr>
          <p:nvPr/>
        </p:nvCxnSpPr>
        <p:spPr>
          <a:xfrm flipV="1">
            <a:off x="4691282" y="3125972"/>
            <a:ext cx="0" cy="111642"/>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7" name="Straight Connector 76">
            <a:extLst>
              <a:ext uri="{FF2B5EF4-FFF2-40B4-BE49-F238E27FC236}">
                <a16:creationId xmlns:a16="http://schemas.microsoft.com/office/drawing/2014/main" id="{75C7BBF7-CBBC-7BFD-4C24-D5BD8B1C297C}"/>
              </a:ext>
            </a:extLst>
          </p:cNvPr>
          <p:cNvCxnSpPr>
            <a:cxnSpLocks/>
          </p:cNvCxnSpPr>
          <p:nvPr/>
        </p:nvCxnSpPr>
        <p:spPr>
          <a:xfrm flipV="1">
            <a:off x="7514225" y="3125972"/>
            <a:ext cx="0" cy="111642"/>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8" name="Straight Connector 77">
            <a:extLst>
              <a:ext uri="{FF2B5EF4-FFF2-40B4-BE49-F238E27FC236}">
                <a16:creationId xmlns:a16="http://schemas.microsoft.com/office/drawing/2014/main" id="{F1D50AC8-7B4E-92F4-8036-D5EB8A4F7FCD}"/>
              </a:ext>
            </a:extLst>
          </p:cNvPr>
          <p:cNvCxnSpPr>
            <a:cxnSpLocks/>
          </p:cNvCxnSpPr>
          <p:nvPr/>
        </p:nvCxnSpPr>
        <p:spPr>
          <a:xfrm flipV="1">
            <a:off x="10337168" y="3125972"/>
            <a:ext cx="0" cy="111642"/>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9" name="Straight Connector 78">
            <a:extLst>
              <a:ext uri="{FF2B5EF4-FFF2-40B4-BE49-F238E27FC236}">
                <a16:creationId xmlns:a16="http://schemas.microsoft.com/office/drawing/2014/main" id="{BBA83715-5F74-6DEB-441F-21690CE8DD09}"/>
              </a:ext>
            </a:extLst>
          </p:cNvPr>
          <p:cNvCxnSpPr>
            <a:cxnSpLocks/>
          </p:cNvCxnSpPr>
          <p:nvPr/>
        </p:nvCxnSpPr>
        <p:spPr>
          <a:xfrm flipV="1">
            <a:off x="6105410" y="3976577"/>
            <a:ext cx="0" cy="106325"/>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1" name="Straight Connector 80">
            <a:extLst>
              <a:ext uri="{FF2B5EF4-FFF2-40B4-BE49-F238E27FC236}">
                <a16:creationId xmlns:a16="http://schemas.microsoft.com/office/drawing/2014/main" id="{803AAEE8-FAC8-68F9-F892-83532C765421}"/>
              </a:ext>
            </a:extLst>
          </p:cNvPr>
          <p:cNvCxnSpPr>
            <a:cxnSpLocks/>
          </p:cNvCxnSpPr>
          <p:nvPr/>
        </p:nvCxnSpPr>
        <p:spPr>
          <a:xfrm flipV="1">
            <a:off x="3277150" y="3976577"/>
            <a:ext cx="0" cy="106325"/>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2" name="Straight Connector 81">
            <a:extLst>
              <a:ext uri="{FF2B5EF4-FFF2-40B4-BE49-F238E27FC236}">
                <a16:creationId xmlns:a16="http://schemas.microsoft.com/office/drawing/2014/main" id="{60ABB061-173B-0B89-57CC-1001A14F3D8D}"/>
              </a:ext>
            </a:extLst>
          </p:cNvPr>
          <p:cNvCxnSpPr>
            <a:cxnSpLocks/>
          </p:cNvCxnSpPr>
          <p:nvPr/>
        </p:nvCxnSpPr>
        <p:spPr>
          <a:xfrm flipV="1">
            <a:off x="8933670" y="3976577"/>
            <a:ext cx="0" cy="106325"/>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83" name="Rectangle 82">
            <a:extLst>
              <a:ext uri="{FF2B5EF4-FFF2-40B4-BE49-F238E27FC236}">
                <a16:creationId xmlns:a16="http://schemas.microsoft.com/office/drawing/2014/main" id="{EE676F7E-D9BA-613F-C1AB-D419364F7669}"/>
              </a:ext>
            </a:extLst>
          </p:cNvPr>
          <p:cNvSpPr/>
          <p:nvPr/>
        </p:nvSpPr>
        <p:spPr>
          <a:xfrm>
            <a:off x="593494" y="1526552"/>
            <a:ext cx="2560320" cy="1599718"/>
          </a:xfrm>
          <a:prstGeom prst="rect">
            <a:avLst/>
          </a:prstGeom>
          <a:noFill/>
          <a:ln w="12700" cap="flat">
            <a:solidFill>
              <a:schemeClr val="tx1"/>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100" b="0" i="0">
                <a:effectLst/>
                <a:latin typeface="Helvetica" pitchFamily="2" charset="0"/>
              </a:rPr>
              <a:t>Both models are known for their simplicity and depth, with layers stacked directly on top of each other. They are excellent for capturing complex patterns in image data, making them suitable for detailed features in blood cell images.</a:t>
            </a:r>
            <a:endParaRPr kumimoji="0" lang="en-US" sz="1100" b="0" i="0" u="none" strike="noStrike" cap="none" spc="0" normalizeH="0" baseline="0">
              <a:ln>
                <a:noFill/>
              </a:ln>
              <a:effectLst/>
              <a:uFillTx/>
              <a:latin typeface="Helvetica" pitchFamily="2" charset="0"/>
              <a:sym typeface="Helvetica Neue Medium"/>
            </a:endParaRPr>
          </a:p>
        </p:txBody>
      </p:sp>
      <p:sp>
        <p:nvSpPr>
          <p:cNvPr id="84" name="Rectangle 83">
            <a:extLst>
              <a:ext uri="{FF2B5EF4-FFF2-40B4-BE49-F238E27FC236}">
                <a16:creationId xmlns:a16="http://schemas.microsoft.com/office/drawing/2014/main" id="{D4A69AFA-3432-34E8-D554-FE16B5BA5085}"/>
              </a:ext>
            </a:extLst>
          </p:cNvPr>
          <p:cNvSpPr/>
          <p:nvPr/>
        </p:nvSpPr>
        <p:spPr>
          <a:xfrm>
            <a:off x="3408392" y="1526552"/>
            <a:ext cx="2560320" cy="1599718"/>
          </a:xfrm>
          <a:prstGeom prst="rect">
            <a:avLst/>
          </a:prstGeom>
          <a:noFill/>
          <a:ln w="12700" cap="flat">
            <a:solidFill>
              <a:schemeClr val="tx1"/>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100" b="0" i="0">
                <a:effectLst/>
                <a:latin typeface="Helvetica" pitchFamily="2" charset="0"/>
              </a:rPr>
              <a:t>Utilizing residual connections to enable training of very deep networks by allowing gradients to flow through the network without vanishing. These models are beneficial for our project as they can learn from a significant amount of residual features without the risk of performance degradation with increased depth.</a:t>
            </a:r>
            <a:endParaRPr kumimoji="0" lang="en-US" sz="1100" b="0" i="0" u="none" strike="noStrike" cap="none" spc="0" normalizeH="0" baseline="0">
              <a:ln>
                <a:noFill/>
              </a:ln>
              <a:effectLst/>
              <a:uFillTx/>
              <a:latin typeface="Helvetica" pitchFamily="2" charset="0"/>
              <a:sym typeface="Helvetica Neue Medium"/>
            </a:endParaRPr>
          </a:p>
        </p:txBody>
      </p:sp>
      <p:sp>
        <p:nvSpPr>
          <p:cNvPr id="85" name="Rectangle 84">
            <a:extLst>
              <a:ext uri="{FF2B5EF4-FFF2-40B4-BE49-F238E27FC236}">
                <a16:creationId xmlns:a16="http://schemas.microsoft.com/office/drawing/2014/main" id="{990DC6A2-1002-C410-6CCA-C6FDA34FC16C}"/>
              </a:ext>
            </a:extLst>
          </p:cNvPr>
          <p:cNvSpPr/>
          <p:nvPr/>
        </p:nvSpPr>
        <p:spPr>
          <a:xfrm>
            <a:off x="6223290" y="1526552"/>
            <a:ext cx="2560320" cy="1599718"/>
          </a:xfrm>
          <a:prstGeom prst="rect">
            <a:avLst/>
          </a:prstGeom>
          <a:noFill/>
          <a:ln w="12700" cap="flat">
            <a:solidFill>
              <a:schemeClr val="tx1"/>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100" b="0" i="0">
                <a:effectLst/>
                <a:latin typeface="Helvetica" pitchFamily="2" charset="0"/>
              </a:rPr>
              <a:t> Features densely connected convolutional networks where each layer connects to every other layer in a feed-forward fashion. This connectivity pattern promotes feature reuse, making it highly efficient and accurate, especially for varied medical imaging data.</a:t>
            </a:r>
            <a:endParaRPr kumimoji="0" lang="en-US" sz="1100" b="0" i="0" u="none" strike="noStrike" cap="none" spc="0" normalizeH="0" baseline="0">
              <a:ln>
                <a:noFill/>
              </a:ln>
              <a:effectLst/>
              <a:uFillTx/>
              <a:latin typeface="Helvetica" pitchFamily="2" charset="0"/>
              <a:sym typeface="Helvetica Neue Medium"/>
            </a:endParaRPr>
          </a:p>
        </p:txBody>
      </p:sp>
      <p:sp>
        <p:nvSpPr>
          <p:cNvPr id="86" name="Rectangle 85">
            <a:extLst>
              <a:ext uri="{FF2B5EF4-FFF2-40B4-BE49-F238E27FC236}">
                <a16:creationId xmlns:a16="http://schemas.microsoft.com/office/drawing/2014/main" id="{06E13166-BC20-9E22-5F59-749AC26C6E91}"/>
              </a:ext>
            </a:extLst>
          </p:cNvPr>
          <p:cNvSpPr/>
          <p:nvPr/>
        </p:nvSpPr>
        <p:spPr>
          <a:xfrm>
            <a:off x="9038187" y="1526552"/>
            <a:ext cx="2560320" cy="1599718"/>
          </a:xfrm>
          <a:prstGeom prst="rect">
            <a:avLst/>
          </a:prstGeom>
          <a:noFill/>
          <a:ln w="12700" cap="flat">
            <a:solidFill>
              <a:schemeClr val="tx1"/>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100" b="0" i="0">
                <a:effectLst/>
                <a:latin typeface="Helvetica" pitchFamily="2" charset="0"/>
              </a:rPr>
              <a:t>Utilizes Neural Architecture Search to optimize its topology. This results in a highly optimized structure that excels in handling complex tasks like classifying different types of blood cells, where precision is crucial.</a:t>
            </a:r>
            <a:endParaRPr kumimoji="0" lang="en-US" sz="1100" b="0" i="0" u="none" strike="noStrike" cap="none" spc="0" normalizeH="0" baseline="0">
              <a:ln>
                <a:noFill/>
              </a:ln>
              <a:effectLst/>
              <a:uFillTx/>
              <a:latin typeface="Helvetica" pitchFamily="2" charset="0"/>
              <a:sym typeface="Helvetica Neue Medium"/>
            </a:endParaRPr>
          </a:p>
        </p:txBody>
      </p:sp>
      <p:sp>
        <p:nvSpPr>
          <p:cNvPr id="87" name="Rectangle 86">
            <a:extLst>
              <a:ext uri="{FF2B5EF4-FFF2-40B4-BE49-F238E27FC236}">
                <a16:creationId xmlns:a16="http://schemas.microsoft.com/office/drawing/2014/main" id="{AE0DB43A-83AF-09B2-E947-B3367DA0D57B}"/>
              </a:ext>
            </a:extLst>
          </p:cNvPr>
          <p:cNvSpPr/>
          <p:nvPr/>
        </p:nvSpPr>
        <p:spPr>
          <a:xfrm>
            <a:off x="1996990" y="4082902"/>
            <a:ext cx="2560320" cy="1614636"/>
          </a:xfrm>
          <a:prstGeom prst="rect">
            <a:avLst/>
          </a:prstGeom>
          <a:noFill/>
          <a:ln w="12700" cap="flat">
            <a:solidFill>
              <a:schemeClr val="tx1"/>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100" b="0" i="0">
                <a:effectLst/>
                <a:latin typeface="Helvetica" pitchFamily="2" charset="0"/>
              </a:rPr>
              <a:t>These models introduce modules with parallel convolutions, optimizing performance by handling different aspects of the input data simultaneously. Their architecture allows for efficient feature extraction at multiple scales, which is advantageous for images with varying sizes and shapes of cells.</a:t>
            </a:r>
            <a:endParaRPr kumimoji="0" lang="en-US" sz="1100" b="0" i="0" u="none" strike="noStrike" cap="none" spc="0" normalizeH="0" baseline="0">
              <a:ln>
                <a:noFill/>
              </a:ln>
              <a:effectLst/>
              <a:uFillTx/>
              <a:latin typeface="Helvetica" pitchFamily="2" charset="0"/>
              <a:sym typeface="Helvetica Neue Medium"/>
            </a:endParaRPr>
          </a:p>
        </p:txBody>
      </p:sp>
      <p:sp>
        <p:nvSpPr>
          <p:cNvPr id="88" name="Rectangle 87">
            <a:extLst>
              <a:ext uri="{FF2B5EF4-FFF2-40B4-BE49-F238E27FC236}">
                <a16:creationId xmlns:a16="http://schemas.microsoft.com/office/drawing/2014/main" id="{DC54AE19-43F2-9FBB-1E98-2C8E1E48A2D4}"/>
              </a:ext>
            </a:extLst>
          </p:cNvPr>
          <p:cNvSpPr/>
          <p:nvPr/>
        </p:nvSpPr>
        <p:spPr>
          <a:xfrm>
            <a:off x="4825249" y="4082902"/>
            <a:ext cx="2560320" cy="1614636"/>
          </a:xfrm>
          <a:prstGeom prst="rect">
            <a:avLst/>
          </a:prstGeom>
          <a:noFill/>
          <a:ln w="12700" cap="flat">
            <a:solidFill>
              <a:schemeClr val="tx1"/>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100" b="0" i="0">
                <a:effectLst/>
                <a:latin typeface="Helvetica" pitchFamily="2" charset="0"/>
              </a:rPr>
              <a:t>This model is designed for mobile and edge devices but maintains high accuracy. Its lightweight architecture uses </a:t>
            </a:r>
            <a:r>
              <a:rPr lang="en-US" sz="1100" b="0" i="0" err="1">
                <a:effectLst/>
                <a:latin typeface="Helvetica" pitchFamily="2" charset="0"/>
              </a:rPr>
              <a:t>depthwise</a:t>
            </a:r>
            <a:r>
              <a:rPr lang="en-US" sz="1100" b="0" i="0">
                <a:effectLst/>
                <a:latin typeface="Helvetica" pitchFamily="2" charset="0"/>
              </a:rPr>
              <a:t> separable convolutions to reduce the model size and complexity, making it faster without sacrificing performance.</a:t>
            </a:r>
            <a:endParaRPr kumimoji="0" lang="en-US" sz="1100" b="0" i="0" u="none" strike="noStrike" cap="none" spc="0" normalizeH="0" baseline="0">
              <a:ln>
                <a:noFill/>
              </a:ln>
              <a:effectLst/>
              <a:uFillTx/>
              <a:latin typeface="Helvetica" pitchFamily="2" charset="0"/>
              <a:sym typeface="Helvetica Neue Medium"/>
            </a:endParaRPr>
          </a:p>
        </p:txBody>
      </p:sp>
      <p:sp>
        <p:nvSpPr>
          <p:cNvPr id="89" name="Rectangle 88">
            <a:extLst>
              <a:ext uri="{FF2B5EF4-FFF2-40B4-BE49-F238E27FC236}">
                <a16:creationId xmlns:a16="http://schemas.microsoft.com/office/drawing/2014/main" id="{9C4945B5-4ECE-A293-E491-F41CF09CB37D}"/>
              </a:ext>
            </a:extLst>
          </p:cNvPr>
          <p:cNvSpPr/>
          <p:nvPr/>
        </p:nvSpPr>
        <p:spPr>
          <a:xfrm>
            <a:off x="7645274" y="4082902"/>
            <a:ext cx="2560320" cy="1614636"/>
          </a:xfrm>
          <a:prstGeom prst="rect">
            <a:avLst/>
          </a:prstGeom>
          <a:noFill/>
          <a:ln w="12700" cap="flat">
            <a:solidFill>
              <a:schemeClr val="tx1"/>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100" b="0" i="0">
                <a:effectLst/>
                <a:latin typeface="Helvetica" pitchFamily="2" charset="0"/>
              </a:rPr>
              <a:t>Known for scaling up CNNs in a more structured manner using a compound coefficient to manage depth, width, and resolution of the networks. This model provides a balanced architecture that can handle complex image classifications with fewer parameters.</a:t>
            </a:r>
            <a:endParaRPr kumimoji="0" lang="en-US" sz="1100" b="0" i="0" u="none" strike="noStrike" cap="none" spc="0" normalizeH="0" baseline="0">
              <a:ln>
                <a:noFill/>
              </a:ln>
              <a:effectLst/>
              <a:uFillTx/>
              <a:latin typeface="Helvetica" pitchFamily="2" charset="0"/>
              <a:sym typeface="Helvetica Neue Medium"/>
            </a:endParaRPr>
          </a:p>
        </p:txBody>
      </p:sp>
    </p:spTree>
    <p:extLst>
      <p:ext uri="{BB962C8B-B14F-4D97-AF65-F5344CB8AC3E}">
        <p14:creationId xmlns:p14="http://schemas.microsoft.com/office/powerpoint/2010/main" val="37889794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7857DC1-B240-2014-FF35-005F90715DFD}"/>
              </a:ext>
            </a:extLst>
          </p:cNvPr>
          <p:cNvSpPr>
            <a:spLocks noGrp="1"/>
          </p:cNvSpPr>
          <p:nvPr>
            <p:ph type="body" sz="quarter" idx="14"/>
          </p:nvPr>
        </p:nvSpPr>
        <p:spPr/>
        <p:txBody>
          <a:bodyPr/>
          <a:lstStyle/>
          <a:p>
            <a:r>
              <a:rPr lang="en-US"/>
              <a:t>Modeling</a:t>
            </a:r>
          </a:p>
        </p:txBody>
      </p:sp>
      <p:sp>
        <p:nvSpPr>
          <p:cNvPr id="3" name="Textplatzhalter 2">
            <a:extLst>
              <a:ext uri="{FF2B5EF4-FFF2-40B4-BE49-F238E27FC236}">
                <a16:creationId xmlns:a16="http://schemas.microsoft.com/office/drawing/2014/main" id="{281105C5-44E1-6128-D52F-2586EB705ADC}"/>
              </a:ext>
            </a:extLst>
          </p:cNvPr>
          <p:cNvSpPr>
            <a:spLocks noGrp="1"/>
          </p:cNvSpPr>
          <p:nvPr>
            <p:ph type="body" sz="quarter" idx="15"/>
          </p:nvPr>
        </p:nvSpPr>
        <p:spPr/>
        <p:txBody>
          <a:bodyPr/>
          <a:lstStyle/>
          <a:p>
            <a:r>
              <a:rPr lang="en-US"/>
              <a:t>Model Selection (2/2 – Transfer Learning)</a:t>
            </a:r>
          </a:p>
        </p:txBody>
      </p:sp>
      <p:grpSp>
        <p:nvGrpSpPr>
          <p:cNvPr id="11" name="Group 10">
            <a:extLst>
              <a:ext uri="{FF2B5EF4-FFF2-40B4-BE49-F238E27FC236}">
                <a16:creationId xmlns:a16="http://schemas.microsoft.com/office/drawing/2014/main" id="{DF1C8BCF-D009-DBD8-D1D0-D4263C603994}"/>
              </a:ext>
            </a:extLst>
          </p:cNvPr>
          <p:cNvGrpSpPr/>
          <p:nvPr/>
        </p:nvGrpSpPr>
        <p:grpSpPr>
          <a:xfrm>
            <a:off x="442912" y="2042909"/>
            <a:ext cx="4995033" cy="3657032"/>
            <a:chOff x="442912" y="1643173"/>
            <a:chExt cx="5541020" cy="4056768"/>
          </a:xfrm>
        </p:grpSpPr>
        <p:pic>
          <p:nvPicPr>
            <p:cNvPr id="8" name="Picture 7">
              <a:extLst>
                <a:ext uri="{FF2B5EF4-FFF2-40B4-BE49-F238E27FC236}">
                  <a16:creationId xmlns:a16="http://schemas.microsoft.com/office/drawing/2014/main" id="{E9C268D2-4A92-555B-294A-3FAF05C0D43E}"/>
                </a:ext>
              </a:extLst>
            </p:cNvPr>
            <p:cNvPicPr>
              <a:picLocks noChangeAspect="1"/>
            </p:cNvPicPr>
            <p:nvPr/>
          </p:nvPicPr>
          <p:blipFill>
            <a:blip r:embed="rId2"/>
            <a:stretch>
              <a:fillRect/>
            </a:stretch>
          </p:blipFill>
          <p:spPr>
            <a:xfrm>
              <a:off x="1000452" y="3313357"/>
              <a:ext cx="4297680" cy="2386584"/>
            </a:xfrm>
            <a:prstGeom prst="rect">
              <a:avLst/>
            </a:prstGeom>
          </p:spPr>
        </p:pic>
        <p:pic>
          <p:nvPicPr>
            <p:cNvPr id="7" name="Picture 6">
              <a:extLst>
                <a:ext uri="{FF2B5EF4-FFF2-40B4-BE49-F238E27FC236}">
                  <a16:creationId xmlns:a16="http://schemas.microsoft.com/office/drawing/2014/main" id="{58EEF368-8C71-6063-D0EA-0DDBFC183EB4}"/>
                </a:ext>
              </a:extLst>
            </p:cNvPr>
            <p:cNvPicPr>
              <a:picLocks noChangeAspect="1"/>
            </p:cNvPicPr>
            <p:nvPr/>
          </p:nvPicPr>
          <p:blipFill rotWithShape="1">
            <a:blip r:embed="rId3"/>
            <a:srcRect l="2262"/>
            <a:stretch/>
          </p:blipFill>
          <p:spPr>
            <a:xfrm>
              <a:off x="442912" y="1643173"/>
              <a:ext cx="5541019" cy="1746504"/>
            </a:xfrm>
            <a:prstGeom prst="rect">
              <a:avLst/>
            </a:prstGeom>
          </p:spPr>
        </p:pic>
        <p:sp>
          <p:nvSpPr>
            <p:cNvPr id="9" name="Rectangle 8">
              <a:extLst>
                <a:ext uri="{FF2B5EF4-FFF2-40B4-BE49-F238E27FC236}">
                  <a16:creationId xmlns:a16="http://schemas.microsoft.com/office/drawing/2014/main" id="{5AB0FA8C-C6AA-EBCC-77FA-58446A144528}"/>
                </a:ext>
              </a:extLst>
            </p:cNvPr>
            <p:cNvSpPr/>
            <p:nvPr/>
          </p:nvSpPr>
          <p:spPr>
            <a:xfrm>
              <a:off x="461169" y="1643173"/>
              <a:ext cx="5522763" cy="4056768"/>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grpSp>
      <p:grpSp>
        <p:nvGrpSpPr>
          <p:cNvPr id="12" name="Group 11">
            <a:extLst>
              <a:ext uri="{FF2B5EF4-FFF2-40B4-BE49-F238E27FC236}">
                <a16:creationId xmlns:a16="http://schemas.microsoft.com/office/drawing/2014/main" id="{2CB8CDDB-CC04-79E2-7122-0783D4AC8C68}"/>
              </a:ext>
            </a:extLst>
          </p:cNvPr>
          <p:cNvGrpSpPr/>
          <p:nvPr/>
        </p:nvGrpSpPr>
        <p:grpSpPr>
          <a:xfrm>
            <a:off x="6754055" y="2030819"/>
            <a:ext cx="4995033" cy="3669122"/>
            <a:chOff x="6226325" y="1643173"/>
            <a:chExt cx="5522763" cy="4056768"/>
          </a:xfrm>
        </p:grpSpPr>
        <p:pic>
          <p:nvPicPr>
            <p:cNvPr id="6" name="Picture 5">
              <a:extLst>
                <a:ext uri="{FF2B5EF4-FFF2-40B4-BE49-F238E27FC236}">
                  <a16:creationId xmlns:a16="http://schemas.microsoft.com/office/drawing/2014/main" id="{4AEC2224-E8EB-E572-08A3-9C104DA29FD6}"/>
                </a:ext>
              </a:extLst>
            </p:cNvPr>
            <p:cNvPicPr>
              <a:picLocks/>
            </p:cNvPicPr>
            <p:nvPr/>
          </p:nvPicPr>
          <p:blipFill>
            <a:blip r:embed="rId4"/>
            <a:stretch>
              <a:fillRect/>
            </a:stretch>
          </p:blipFill>
          <p:spPr>
            <a:xfrm>
              <a:off x="6974604" y="3313357"/>
              <a:ext cx="4297680" cy="2386584"/>
            </a:xfrm>
            <a:prstGeom prst="rect">
              <a:avLst/>
            </a:prstGeom>
          </p:spPr>
        </p:pic>
        <p:pic>
          <p:nvPicPr>
            <p:cNvPr id="5" name="Picture 4">
              <a:extLst>
                <a:ext uri="{FF2B5EF4-FFF2-40B4-BE49-F238E27FC236}">
                  <a16:creationId xmlns:a16="http://schemas.microsoft.com/office/drawing/2014/main" id="{3C4E8509-4197-C989-C70E-DE4B2AD7255D}"/>
                </a:ext>
              </a:extLst>
            </p:cNvPr>
            <p:cNvPicPr>
              <a:picLocks noChangeAspect="1"/>
            </p:cNvPicPr>
            <p:nvPr/>
          </p:nvPicPr>
          <p:blipFill rotWithShape="1">
            <a:blip r:embed="rId5"/>
            <a:srcRect r="2907"/>
            <a:stretch/>
          </p:blipFill>
          <p:spPr>
            <a:xfrm>
              <a:off x="6226325" y="1643173"/>
              <a:ext cx="5504506" cy="1746504"/>
            </a:xfrm>
            <a:prstGeom prst="rect">
              <a:avLst/>
            </a:prstGeom>
          </p:spPr>
        </p:pic>
        <p:sp>
          <p:nvSpPr>
            <p:cNvPr id="10" name="Rectangle 9">
              <a:extLst>
                <a:ext uri="{FF2B5EF4-FFF2-40B4-BE49-F238E27FC236}">
                  <a16:creationId xmlns:a16="http://schemas.microsoft.com/office/drawing/2014/main" id="{7B4FC73C-CE6F-FCB3-EEC9-ADBC650F688E}"/>
                </a:ext>
              </a:extLst>
            </p:cNvPr>
            <p:cNvSpPr/>
            <p:nvPr/>
          </p:nvSpPr>
          <p:spPr>
            <a:xfrm>
              <a:off x="6226325" y="1643173"/>
              <a:ext cx="5522763" cy="4056768"/>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grpSp>
      <p:grpSp>
        <p:nvGrpSpPr>
          <p:cNvPr id="24" name="Group 23">
            <a:extLst>
              <a:ext uri="{FF2B5EF4-FFF2-40B4-BE49-F238E27FC236}">
                <a16:creationId xmlns:a16="http://schemas.microsoft.com/office/drawing/2014/main" id="{0464FCC6-16E9-ADD9-A0C1-E986467D1A57}"/>
              </a:ext>
            </a:extLst>
          </p:cNvPr>
          <p:cNvGrpSpPr/>
          <p:nvPr/>
        </p:nvGrpSpPr>
        <p:grpSpPr>
          <a:xfrm>
            <a:off x="945515" y="4953214"/>
            <a:ext cx="4125955" cy="182880"/>
            <a:chOff x="945515" y="4953214"/>
            <a:chExt cx="4125955" cy="182880"/>
          </a:xfrm>
        </p:grpSpPr>
        <p:pic>
          <p:nvPicPr>
            <p:cNvPr id="18" name="Graphic 17" descr="Trophy with solid fill">
              <a:extLst>
                <a:ext uri="{FF2B5EF4-FFF2-40B4-BE49-F238E27FC236}">
                  <a16:creationId xmlns:a16="http://schemas.microsoft.com/office/drawing/2014/main" id="{14EEB843-E299-75DF-10FA-E4331E51FB6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19721" y="4953214"/>
              <a:ext cx="182880" cy="182880"/>
            </a:xfrm>
            <a:prstGeom prst="rect">
              <a:avLst/>
            </a:prstGeom>
          </p:spPr>
        </p:pic>
        <p:sp>
          <p:nvSpPr>
            <p:cNvPr id="19" name="Rectangle 18">
              <a:extLst>
                <a:ext uri="{FF2B5EF4-FFF2-40B4-BE49-F238E27FC236}">
                  <a16:creationId xmlns:a16="http://schemas.microsoft.com/office/drawing/2014/main" id="{C9DF05AD-DB15-2B00-F758-EE653FC13033}"/>
                </a:ext>
              </a:extLst>
            </p:cNvPr>
            <p:cNvSpPr/>
            <p:nvPr/>
          </p:nvSpPr>
          <p:spPr>
            <a:xfrm>
              <a:off x="945515" y="4958366"/>
              <a:ext cx="4125955" cy="170285"/>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grpSp>
      <p:grpSp>
        <p:nvGrpSpPr>
          <p:cNvPr id="23" name="Group 22">
            <a:extLst>
              <a:ext uri="{FF2B5EF4-FFF2-40B4-BE49-F238E27FC236}">
                <a16:creationId xmlns:a16="http://schemas.microsoft.com/office/drawing/2014/main" id="{ADC41A65-2E43-DB50-AB9F-CA5FBC39E515}"/>
              </a:ext>
            </a:extLst>
          </p:cNvPr>
          <p:cNvGrpSpPr/>
          <p:nvPr/>
        </p:nvGrpSpPr>
        <p:grpSpPr>
          <a:xfrm>
            <a:off x="945515" y="4601667"/>
            <a:ext cx="4125955" cy="182880"/>
            <a:chOff x="945515" y="4775486"/>
            <a:chExt cx="4125955" cy="182880"/>
          </a:xfrm>
        </p:grpSpPr>
        <p:pic>
          <p:nvPicPr>
            <p:cNvPr id="16" name="Graphic 15" descr="Badge with solid fill">
              <a:extLst>
                <a:ext uri="{FF2B5EF4-FFF2-40B4-BE49-F238E27FC236}">
                  <a16:creationId xmlns:a16="http://schemas.microsoft.com/office/drawing/2014/main" id="{5918EF20-0518-75EE-4428-99C19D24673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17337" y="4775486"/>
              <a:ext cx="182880" cy="182880"/>
            </a:xfrm>
            <a:prstGeom prst="rect">
              <a:avLst/>
            </a:prstGeom>
          </p:spPr>
        </p:pic>
        <p:sp>
          <p:nvSpPr>
            <p:cNvPr id="20" name="Rectangle 19">
              <a:extLst>
                <a:ext uri="{FF2B5EF4-FFF2-40B4-BE49-F238E27FC236}">
                  <a16:creationId xmlns:a16="http://schemas.microsoft.com/office/drawing/2014/main" id="{5B873B8C-4836-782F-C4EC-0A6149A442D2}"/>
                </a:ext>
              </a:extLst>
            </p:cNvPr>
            <p:cNvSpPr/>
            <p:nvPr/>
          </p:nvSpPr>
          <p:spPr>
            <a:xfrm>
              <a:off x="945515" y="4784484"/>
              <a:ext cx="4125955" cy="170285"/>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grpSp>
      <p:grpSp>
        <p:nvGrpSpPr>
          <p:cNvPr id="22" name="Group 21">
            <a:extLst>
              <a:ext uri="{FF2B5EF4-FFF2-40B4-BE49-F238E27FC236}">
                <a16:creationId xmlns:a16="http://schemas.microsoft.com/office/drawing/2014/main" id="{F78614D2-C2AA-306B-487C-A6758B75D82D}"/>
              </a:ext>
            </a:extLst>
          </p:cNvPr>
          <p:cNvGrpSpPr/>
          <p:nvPr/>
        </p:nvGrpSpPr>
        <p:grpSpPr>
          <a:xfrm>
            <a:off x="945515" y="4780722"/>
            <a:ext cx="4125955" cy="182880"/>
            <a:chOff x="945515" y="3946714"/>
            <a:chExt cx="4125955" cy="182880"/>
          </a:xfrm>
        </p:grpSpPr>
        <p:pic>
          <p:nvPicPr>
            <p:cNvPr id="14" name="Graphic 13" descr="Badge 3 with solid fill">
              <a:extLst>
                <a:ext uri="{FF2B5EF4-FFF2-40B4-BE49-F238E27FC236}">
                  <a16:creationId xmlns:a16="http://schemas.microsoft.com/office/drawing/2014/main" id="{97B5C914-03CB-3C74-A2A0-21E28EEA24F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17230" y="3946714"/>
              <a:ext cx="182880" cy="182880"/>
            </a:xfrm>
            <a:prstGeom prst="rect">
              <a:avLst/>
            </a:prstGeom>
          </p:spPr>
        </p:pic>
        <p:sp>
          <p:nvSpPr>
            <p:cNvPr id="21" name="Rectangle 20">
              <a:extLst>
                <a:ext uri="{FF2B5EF4-FFF2-40B4-BE49-F238E27FC236}">
                  <a16:creationId xmlns:a16="http://schemas.microsoft.com/office/drawing/2014/main" id="{F225DF1B-F443-A065-E1BF-55EDE63EFFE0}"/>
                </a:ext>
              </a:extLst>
            </p:cNvPr>
            <p:cNvSpPr/>
            <p:nvPr/>
          </p:nvSpPr>
          <p:spPr>
            <a:xfrm>
              <a:off x="945515" y="3953011"/>
              <a:ext cx="4125955" cy="170285"/>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grpSp>
      <p:grpSp>
        <p:nvGrpSpPr>
          <p:cNvPr id="36" name="Group 35">
            <a:extLst>
              <a:ext uri="{FF2B5EF4-FFF2-40B4-BE49-F238E27FC236}">
                <a16:creationId xmlns:a16="http://schemas.microsoft.com/office/drawing/2014/main" id="{40FBE062-BCD2-323D-6BE2-DBEA253D5A15}"/>
              </a:ext>
            </a:extLst>
          </p:cNvPr>
          <p:cNvGrpSpPr/>
          <p:nvPr/>
        </p:nvGrpSpPr>
        <p:grpSpPr>
          <a:xfrm>
            <a:off x="7454154" y="3926416"/>
            <a:ext cx="4125955" cy="182880"/>
            <a:chOff x="945515" y="4953214"/>
            <a:chExt cx="4125955" cy="182880"/>
          </a:xfrm>
        </p:grpSpPr>
        <p:pic>
          <p:nvPicPr>
            <p:cNvPr id="37" name="Graphic 36" descr="Trophy with solid fill">
              <a:extLst>
                <a:ext uri="{FF2B5EF4-FFF2-40B4-BE49-F238E27FC236}">
                  <a16:creationId xmlns:a16="http://schemas.microsoft.com/office/drawing/2014/main" id="{5A6896E6-A159-5BFB-3B94-0EC3FDC480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19721" y="4953214"/>
              <a:ext cx="182880" cy="182880"/>
            </a:xfrm>
            <a:prstGeom prst="rect">
              <a:avLst/>
            </a:prstGeom>
          </p:spPr>
        </p:pic>
        <p:sp>
          <p:nvSpPr>
            <p:cNvPr id="39" name="Rectangle 38">
              <a:extLst>
                <a:ext uri="{FF2B5EF4-FFF2-40B4-BE49-F238E27FC236}">
                  <a16:creationId xmlns:a16="http://schemas.microsoft.com/office/drawing/2014/main" id="{0BBE0041-45B8-0A27-7148-F7E87D2CBE68}"/>
                </a:ext>
              </a:extLst>
            </p:cNvPr>
            <p:cNvSpPr/>
            <p:nvPr/>
          </p:nvSpPr>
          <p:spPr>
            <a:xfrm>
              <a:off x="945515" y="4958366"/>
              <a:ext cx="4125955" cy="170285"/>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grpSp>
      <p:grpSp>
        <p:nvGrpSpPr>
          <p:cNvPr id="40" name="Group 39">
            <a:extLst>
              <a:ext uri="{FF2B5EF4-FFF2-40B4-BE49-F238E27FC236}">
                <a16:creationId xmlns:a16="http://schemas.microsoft.com/office/drawing/2014/main" id="{A5455AB3-F945-449B-E4C3-84348A15AF33}"/>
              </a:ext>
            </a:extLst>
          </p:cNvPr>
          <p:cNvGrpSpPr/>
          <p:nvPr/>
        </p:nvGrpSpPr>
        <p:grpSpPr>
          <a:xfrm>
            <a:off x="7457564" y="4971969"/>
            <a:ext cx="4125955" cy="182880"/>
            <a:chOff x="945515" y="4775486"/>
            <a:chExt cx="4125955" cy="182880"/>
          </a:xfrm>
        </p:grpSpPr>
        <p:pic>
          <p:nvPicPr>
            <p:cNvPr id="41" name="Graphic 40" descr="Badge with solid fill">
              <a:extLst>
                <a:ext uri="{FF2B5EF4-FFF2-40B4-BE49-F238E27FC236}">
                  <a16:creationId xmlns:a16="http://schemas.microsoft.com/office/drawing/2014/main" id="{54CC560A-EFB6-8184-58A8-456BA9EE3AC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17337" y="4775486"/>
              <a:ext cx="182880" cy="182880"/>
            </a:xfrm>
            <a:prstGeom prst="rect">
              <a:avLst/>
            </a:prstGeom>
          </p:spPr>
        </p:pic>
        <p:sp>
          <p:nvSpPr>
            <p:cNvPr id="42" name="Rectangle 41">
              <a:extLst>
                <a:ext uri="{FF2B5EF4-FFF2-40B4-BE49-F238E27FC236}">
                  <a16:creationId xmlns:a16="http://schemas.microsoft.com/office/drawing/2014/main" id="{9283FFFD-888E-833C-B56A-9DFEAF00499E}"/>
                </a:ext>
              </a:extLst>
            </p:cNvPr>
            <p:cNvSpPr/>
            <p:nvPr/>
          </p:nvSpPr>
          <p:spPr>
            <a:xfrm>
              <a:off x="945515" y="4784484"/>
              <a:ext cx="4125955" cy="170285"/>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grpSp>
      <p:grpSp>
        <p:nvGrpSpPr>
          <p:cNvPr id="43" name="Group 42">
            <a:extLst>
              <a:ext uri="{FF2B5EF4-FFF2-40B4-BE49-F238E27FC236}">
                <a16:creationId xmlns:a16="http://schemas.microsoft.com/office/drawing/2014/main" id="{0F4DEDA9-4AB7-486B-6027-566CFD7AC242}"/>
              </a:ext>
            </a:extLst>
          </p:cNvPr>
          <p:cNvGrpSpPr/>
          <p:nvPr/>
        </p:nvGrpSpPr>
        <p:grpSpPr>
          <a:xfrm>
            <a:off x="7454155" y="4631400"/>
            <a:ext cx="4125955" cy="182880"/>
            <a:chOff x="945515" y="3946714"/>
            <a:chExt cx="4125955" cy="182880"/>
          </a:xfrm>
        </p:grpSpPr>
        <p:pic>
          <p:nvPicPr>
            <p:cNvPr id="44" name="Graphic 43" descr="Badge 3 with solid fill">
              <a:extLst>
                <a:ext uri="{FF2B5EF4-FFF2-40B4-BE49-F238E27FC236}">
                  <a16:creationId xmlns:a16="http://schemas.microsoft.com/office/drawing/2014/main" id="{16D10120-D698-F51C-AD84-CA6FD0F257A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17230" y="3946714"/>
              <a:ext cx="182880" cy="182880"/>
            </a:xfrm>
            <a:prstGeom prst="rect">
              <a:avLst/>
            </a:prstGeom>
          </p:spPr>
        </p:pic>
        <p:sp>
          <p:nvSpPr>
            <p:cNvPr id="47" name="Rectangle 46">
              <a:extLst>
                <a:ext uri="{FF2B5EF4-FFF2-40B4-BE49-F238E27FC236}">
                  <a16:creationId xmlns:a16="http://schemas.microsoft.com/office/drawing/2014/main" id="{B7EC1347-C0F3-0CA8-01A5-2A89E0E9C4A3}"/>
                </a:ext>
              </a:extLst>
            </p:cNvPr>
            <p:cNvSpPr/>
            <p:nvPr/>
          </p:nvSpPr>
          <p:spPr>
            <a:xfrm>
              <a:off x="945515" y="3953011"/>
              <a:ext cx="4125955" cy="170285"/>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grpSp>
    </p:spTree>
    <p:extLst>
      <p:ext uri="{BB962C8B-B14F-4D97-AF65-F5344CB8AC3E}">
        <p14:creationId xmlns:p14="http://schemas.microsoft.com/office/powerpoint/2010/main" val="4162219401"/>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DFD32D-6508-96B2-E7B9-0B50D3FAB32B}"/>
              </a:ext>
            </a:extLst>
          </p:cNvPr>
          <p:cNvSpPr>
            <a:spLocks noGrp="1"/>
          </p:cNvSpPr>
          <p:nvPr>
            <p:ph type="body" sz="quarter" idx="14"/>
          </p:nvPr>
        </p:nvSpPr>
        <p:spPr/>
        <p:txBody>
          <a:bodyPr/>
          <a:lstStyle/>
          <a:p>
            <a:r>
              <a:rPr lang="en-US"/>
              <a:t>Modeling</a:t>
            </a:r>
          </a:p>
        </p:txBody>
      </p:sp>
      <p:sp>
        <p:nvSpPr>
          <p:cNvPr id="3" name="Text Placeholder 2">
            <a:extLst>
              <a:ext uri="{FF2B5EF4-FFF2-40B4-BE49-F238E27FC236}">
                <a16:creationId xmlns:a16="http://schemas.microsoft.com/office/drawing/2014/main" id="{6D589C28-4250-EB81-2BF8-21E0B631118C}"/>
              </a:ext>
            </a:extLst>
          </p:cNvPr>
          <p:cNvSpPr>
            <a:spLocks noGrp="1"/>
          </p:cNvSpPr>
          <p:nvPr>
            <p:ph type="body" sz="quarter" idx="15"/>
          </p:nvPr>
        </p:nvSpPr>
        <p:spPr/>
        <p:txBody>
          <a:bodyPr/>
          <a:lstStyle/>
          <a:p>
            <a:r>
              <a:rPr lang="en-US"/>
              <a:t>Fine Tuning the Best Model</a:t>
            </a:r>
          </a:p>
        </p:txBody>
      </p:sp>
      <p:sp>
        <p:nvSpPr>
          <p:cNvPr id="10" name="Freeform 9">
            <a:extLst>
              <a:ext uri="{FF2B5EF4-FFF2-40B4-BE49-F238E27FC236}">
                <a16:creationId xmlns:a16="http://schemas.microsoft.com/office/drawing/2014/main" id="{3FCE0546-DB51-FC63-C373-D1CA6473D8A7}"/>
              </a:ext>
            </a:extLst>
          </p:cNvPr>
          <p:cNvSpPr/>
          <p:nvPr/>
        </p:nvSpPr>
        <p:spPr>
          <a:xfrm>
            <a:off x="4184889" y="1520824"/>
            <a:ext cx="3840480" cy="648217"/>
          </a:xfrm>
          <a:custGeom>
            <a:avLst/>
            <a:gdLst>
              <a:gd name="connsiteX0" fmla="*/ 0 w 3357656"/>
              <a:gd name="connsiteY0" fmla="*/ 0 h 484632"/>
              <a:gd name="connsiteX1" fmla="*/ 3115340 w 3357656"/>
              <a:gd name="connsiteY1" fmla="*/ 0 h 484632"/>
              <a:gd name="connsiteX2" fmla="*/ 3357656 w 3357656"/>
              <a:gd name="connsiteY2" fmla="*/ 242316 h 484632"/>
              <a:gd name="connsiteX3" fmla="*/ 3115340 w 3357656"/>
              <a:gd name="connsiteY3" fmla="*/ 484632 h 484632"/>
              <a:gd name="connsiteX4" fmla="*/ 0 w 3357656"/>
              <a:gd name="connsiteY4" fmla="*/ 484632 h 484632"/>
              <a:gd name="connsiteX5" fmla="*/ 242316 w 3357656"/>
              <a:gd name="connsiteY5" fmla="*/ 242316 h 48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57656" h="484632">
                <a:moveTo>
                  <a:pt x="0" y="0"/>
                </a:moveTo>
                <a:lnTo>
                  <a:pt x="3115340" y="0"/>
                </a:lnTo>
                <a:lnTo>
                  <a:pt x="3357656" y="242316"/>
                </a:lnTo>
                <a:lnTo>
                  <a:pt x="3115340" y="484632"/>
                </a:lnTo>
                <a:lnTo>
                  <a:pt x="0" y="484632"/>
                </a:lnTo>
                <a:lnTo>
                  <a:pt x="242316" y="242316"/>
                </a:lnTo>
                <a:close/>
              </a:path>
            </a:pathLst>
          </a:cu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a:ln>
                  <a:noFill/>
                </a:ln>
                <a:solidFill>
                  <a:schemeClr val="tx1"/>
                </a:solidFill>
                <a:effectLst/>
                <a:uFillTx/>
                <a:latin typeface="+mn-lt"/>
                <a:ea typeface="+mn-ea"/>
                <a:cs typeface="+mn-cs"/>
                <a:sym typeface="Helvetica Neue Medium"/>
              </a:rPr>
              <a:t>Hyperparameter Optimization</a:t>
            </a:r>
          </a:p>
        </p:txBody>
      </p:sp>
      <p:sp>
        <p:nvSpPr>
          <p:cNvPr id="11" name="Freeform 10">
            <a:extLst>
              <a:ext uri="{FF2B5EF4-FFF2-40B4-BE49-F238E27FC236}">
                <a16:creationId xmlns:a16="http://schemas.microsoft.com/office/drawing/2014/main" id="{356D36F3-38D8-47BD-56A8-98CC8BC741EB}"/>
              </a:ext>
            </a:extLst>
          </p:cNvPr>
          <p:cNvSpPr/>
          <p:nvPr/>
        </p:nvSpPr>
        <p:spPr>
          <a:xfrm>
            <a:off x="461169" y="1520824"/>
            <a:ext cx="3840480" cy="648217"/>
          </a:xfrm>
          <a:custGeom>
            <a:avLst/>
            <a:gdLst>
              <a:gd name="connsiteX0" fmla="*/ 0 w 3357656"/>
              <a:gd name="connsiteY0" fmla="*/ 0 h 484632"/>
              <a:gd name="connsiteX1" fmla="*/ 3115340 w 3357656"/>
              <a:gd name="connsiteY1" fmla="*/ 0 h 484632"/>
              <a:gd name="connsiteX2" fmla="*/ 3357656 w 3357656"/>
              <a:gd name="connsiteY2" fmla="*/ 242316 h 484632"/>
              <a:gd name="connsiteX3" fmla="*/ 3115340 w 3357656"/>
              <a:gd name="connsiteY3" fmla="*/ 484632 h 484632"/>
              <a:gd name="connsiteX4" fmla="*/ 0 w 3357656"/>
              <a:gd name="connsiteY4" fmla="*/ 484632 h 484632"/>
              <a:gd name="connsiteX5" fmla="*/ 242316 w 3357656"/>
              <a:gd name="connsiteY5" fmla="*/ 242316 h 48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57656" h="484632">
                <a:moveTo>
                  <a:pt x="0" y="0"/>
                </a:moveTo>
                <a:lnTo>
                  <a:pt x="3115340" y="0"/>
                </a:lnTo>
                <a:lnTo>
                  <a:pt x="3357656" y="242316"/>
                </a:lnTo>
                <a:lnTo>
                  <a:pt x="3115340" y="484632"/>
                </a:lnTo>
                <a:lnTo>
                  <a:pt x="0" y="484632"/>
                </a:lnTo>
                <a:lnTo>
                  <a:pt x="242316" y="242316"/>
                </a:lnTo>
                <a:close/>
              </a:path>
            </a:pathLst>
          </a:cu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a:ln>
                  <a:noFill/>
                </a:ln>
                <a:solidFill>
                  <a:schemeClr val="tx1"/>
                </a:solidFill>
                <a:effectLst/>
                <a:uFillTx/>
                <a:latin typeface="+mn-lt"/>
                <a:ea typeface="+mn-ea"/>
                <a:cs typeface="+mn-cs"/>
                <a:sym typeface="Helvetica Neue Medium"/>
              </a:rPr>
              <a:t>Model Selection</a:t>
            </a:r>
          </a:p>
        </p:txBody>
      </p:sp>
      <p:sp>
        <p:nvSpPr>
          <p:cNvPr id="12" name="Freeform 11">
            <a:extLst>
              <a:ext uri="{FF2B5EF4-FFF2-40B4-BE49-F238E27FC236}">
                <a16:creationId xmlns:a16="http://schemas.microsoft.com/office/drawing/2014/main" id="{F4B49C84-5DB7-5A45-B97C-BC8730DC39C6}"/>
              </a:ext>
            </a:extLst>
          </p:cNvPr>
          <p:cNvSpPr/>
          <p:nvPr/>
        </p:nvSpPr>
        <p:spPr>
          <a:xfrm>
            <a:off x="7908608" y="1520824"/>
            <a:ext cx="3840480" cy="648217"/>
          </a:xfrm>
          <a:custGeom>
            <a:avLst/>
            <a:gdLst>
              <a:gd name="connsiteX0" fmla="*/ 0 w 3357656"/>
              <a:gd name="connsiteY0" fmla="*/ 0 h 484632"/>
              <a:gd name="connsiteX1" fmla="*/ 3115340 w 3357656"/>
              <a:gd name="connsiteY1" fmla="*/ 0 h 484632"/>
              <a:gd name="connsiteX2" fmla="*/ 3357656 w 3357656"/>
              <a:gd name="connsiteY2" fmla="*/ 242316 h 484632"/>
              <a:gd name="connsiteX3" fmla="*/ 3115340 w 3357656"/>
              <a:gd name="connsiteY3" fmla="*/ 484632 h 484632"/>
              <a:gd name="connsiteX4" fmla="*/ 0 w 3357656"/>
              <a:gd name="connsiteY4" fmla="*/ 484632 h 484632"/>
              <a:gd name="connsiteX5" fmla="*/ 242316 w 3357656"/>
              <a:gd name="connsiteY5" fmla="*/ 242316 h 48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57656" h="484632">
                <a:moveTo>
                  <a:pt x="0" y="0"/>
                </a:moveTo>
                <a:lnTo>
                  <a:pt x="3115340" y="0"/>
                </a:lnTo>
                <a:lnTo>
                  <a:pt x="3357656" y="242316"/>
                </a:lnTo>
                <a:lnTo>
                  <a:pt x="3115340" y="484632"/>
                </a:lnTo>
                <a:lnTo>
                  <a:pt x="0" y="484632"/>
                </a:lnTo>
                <a:lnTo>
                  <a:pt x="242316" y="242316"/>
                </a:lnTo>
                <a:close/>
              </a:path>
            </a:pathLst>
          </a:cu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1600">
                <a:sym typeface="Helvetica Neue Medium"/>
              </a:rPr>
              <a:t>Final Training</a:t>
            </a:r>
            <a:endParaRPr kumimoji="0" lang="en-US" sz="1600" b="0" i="0" u="none" strike="noStrike" cap="none" spc="0" normalizeH="0" baseline="0">
              <a:ln>
                <a:noFill/>
              </a:ln>
              <a:solidFill>
                <a:schemeClr val="tx1"/>
              </a:solidFill>
              <a:effectLst/>
              <a:uFillTx/>
              <a:latin typeface="+mn-lt"/>
              <a:ea typeface="+mn-ea"/>
              <a:cs typeface="+mn-cs"/>
              <a:sym typeface="Helvetica Neue Medium"/>
            </a:endParaRPr>
          </a:p>
        </p:txBody>
      </p:sp>
      <p:sp>
        <p:nvSpPr>
          <p:cNvPr id="13" name="Rectangle 12">
            <a:extLst>
              <a:ext uri="{FF2B5EF4-FFF2-40B4-BE49-F238E27FC236}">
                <a16:creationId xmlns:a16="http://schemas.microsoft.com/office/drawing/2014/main" id="{C984B664-59C0-ABAF-9209-50B5E3A8FE05}"/>
              </a:ext>
            </a:extLst>
          </p:cNvPr>
          <p:cNvSpPr/>
          <p:nvPr/>
        </p:nvSpPr>
        <p:spPr>
          <a:xfrm>
            <a:off x="737030" y="2285585"/>
            <a:ext cx="3288757" cy="3414356"/>
          </a:xfrm>
          <a:prstGeom prst="rect">
            <a:avLst/>
          </a:prstGeom>
          <a:noFill/>
          <a:ln w="12700" cap="flat">
            <a:solidFill>
              <a:schemeClr val="tx2"/>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16" name="Rectangle 15">
            <a:extLst>
              <a:ext uri="{FF2B5EF4-FFF2-40B4-BE49-F238E27FC236}">
                <a16:creationId xmlns:a16="http://schemas.microsoft.com/office/drawing/2014/main" id="{214A7FCE-32A5-4210-642A-A56DC9F56020}"/>
              </a:ext>
            </a:extLst>
          </p:cNvPr>
          <p:cNvSpPr/>
          <p:nvPr/>
        </p:nvSpPr>
        <p:spPr>
          <a:xfrm>
            <a:off x="4457692" y="2285585"/>
            <a:ext cx="3288757" cy="3414356"/>
          </a:xfrm>
          <a:prstGeom prst="rect">
            <a:avLst/>
          </a:prstGeom>
          <a:noFill/>
          <a:ln w="12700" cap="flat">
            <a:solidFill>
              <a:schemeClr val="tx2"/>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17" name="Rectangle 16">
            <a:extLst>
              <a:ext uri="{FF2B5EF4-FFF2-40B4-BE49-F238E27FC236}">
                <a16:creationId xmlns:a16="http://schemas.microsoft.com/office/drawing/2014/main" id="{16DA810B-1155-B9FC-CD24-271B8952FEF0}"/>
              </a:ext>
            </a:extLst>
          </p:cNvPr>
          <p:cNvSpPr/>
          <p:nvPr/>
        </p:nvSpPr>
        <p:spPr>
          <a:xfrm>
            <a:off x="8186237" y="2285585"/>
            <a:ext cx="3288757" cy="3414356"/>
          </a:xfrm>
          <a:prstGeom prst="rect">
            <a:avLst/>
          </a:prstGeom>
          <a:noFill/>
          <a:ln w="12700" cap="flat">
            <a:solidFill>
              <a:schemeClr val="tx2"/>
            </a:solid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graphicFrame>
        <p:nvGraphicFramePr>
          <p:cNvPr id="35" name="Diagram 34">
            <a:extLst>
              <a:ext uri="{FF2B5EF4-FFF2-40B4-BE49-F238E27FC236}">
                <a16:creationId xmlns:a16="http://schemas.microsoft.com/office/drawing/2014/main" id="{E8E9EFC1-664E-BCF3-893B-89CAC2AED58A}"/>
              </a:ext>
            </a:extLst>
          </p:cNvPr>
          <p:cNvGraphicFramePr/>
          <p:nvPr>
            <p:extLst>
              <p:ext uri="{D42A27DB-BD31-4B8C-83A1-F6EECF244321}">
                <p14:modId xmlns:p14="http://schemas.microsoft.com/office/powerpoint/2010/main" val="1061226254"/>
              </p:ext>
            </p:extLst>
          </p:nvPr>
        </p:nvGraphicFramePr>
        <p:xfrm>
          <a:off x="4430481" y="2102897"/>
          <a:ext cx="2427225" cy="40813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6" name="TextBox 35">
            <a:extLst>
              <a:ext uri="{FF2B5EF4-FFF2-40B4-BE49-F238E27FC236}">
                <a16:creationId xmlns:a16="http://schemas.microsoft.com/office/drawing/2014/main" id="{1C78D40F-ADA3-7483-C297-9E3F818B7150}"/>
              </a:ext>
            </a:extLst>
          </p:cNvPr>
          <p:cNvSpPr txBox="1"/>
          <p:nvPr/>
        </p:nvSpPr>
        <p:spPr>
          <a:xfrm>
            <a:off x="6967977" y="2408017"/>
            <a:ext cx="670608"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600" i="0" u="sng" strike="noStrike" cap="none" spc="0" normalizeH="0" baseline="0">
                <a:ln>
                  <a:noFill/>
                </a:ln>
                <a:solidFill>
                  <a:srgbClr val="000000"/>
                </a:solidFill>
                <a:effectLst/>
                <a:uFillTx/>
                <a:latin typeface="Helvetica Neue"/>
                <a:ea typeface="Helvetica Neue"/>
                <a:cs typeface="Helvetica Neue"/>
                <a:sym typeface="Helvetica Neue"/>
              </a:rPr>
              <a:t>Grid</a:t>
            </a:r>
          </a:p>
        </p:txBody>
      </p:sp>
      <p:sp>
        <p:nvSpPr>
          <p:cNvPr id="37" name="Rectangle 36">
            <a:extLst>
              <a:ext uri="{FF2B5EF4-FFF2-40B4-BE49-F238E27FC236}">
                <a16:creationId xmlns:a16="http://schemas.microsoft.com/office/drawing/2014/main" id="{0E9849AE-6C51-E672-EE5E-CFAB10E0E99D}"/>
              </a:ext>
            </a:extLst>
          </p:cNvPr>
          <p:cNvSpPr/>
          <p:nvPr/>
        </p:nvSpPr>
        <p:spPr>
          <a:xfrm>
            <a:off x="6967977" y="2782988"/>
            <a:ext cx="670608" cy="2723473"/>
          </a:xfrm>
          <a:prstGeom prst="rect">
            <a:avLst/>
          </a:prstGeom>
          <a:solidFill>
            <a:srgbClr val="D5D5D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38" name="Rectangle 37">
            <a:extLst>
              <a:ext uri="{FF2B5EF4-FFF2-40B4-BE49-F238E27FC236}">
                <a16:creationId xmlns:a16="http://schemas.microsoft.com/office/drawing/2014/main" id="{F181EBAF-6150-40B4-0240-904ABDF594F9}"/>
              </a:ext>
            </a:extLst>
          </p:cNvPr>
          <p:cNvSpPr/>
          <p:nvPr/>
        </p:nvSpPr>
        <p:spPr>
          <a:xfrm>
            <a:off x="6967975" y="2782988"/>
            <a:ext cx="670609" cy="321953"/>
          </a:xfrm>
          <a:prstGeom prst="rect">
            <a:avLst/>
          </a:prstGeom>
          <a:solidFill>
            <a:schemeClr val="bg2"/>
          </a:solidFill>
          <a:ln w="12700" cap="flat">
            <a:no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a:ln>
                  <a:noFill/>
                </a:ln>
                <a:solidFill>
                  <a:schemeClr val="tx1"/>
                </a:solidFill>
                <a:effectLst/>
                <a:uFillTx/>
                <a:latin typeface="+mn-lt"/>
                <a:ea typeface="+mn-ea"/>
                <a:cs typeface="+mn-cs"/>
                <a:sym typeface="Helvetica Neue Medium"/>
              </a:rPr>
              <a:t>[0.01, 0.001]</a:t>
            </a:r>
          </a:p>
        </p:txBody>
      </p:sp>
      <p:sp>
        <p:nvSpPr>
          <p:cNvPr id="39" name="Rectangle 38">
            <a:extLst>
              <a:ext uri="{FF2B5EF4-FFF2-40B4-BE49-F238E27FC236}">
                <a16:creationId xmlns:a16="http://schemas.microsoft.com/office/drawing/2014/main" id="{4EA17591-65D7-43A0-A2C0-510C740A2CAC}"/>
              </a:ext>
            </a:extLst>
          </p:cNvPr>
          <p:cNvSpPr/>
          <p:nvPr/>
        </p:nvSpPr>
        <p:spPr>
          <a:xfrm>
            <a:off x="6967975" y="3743597"/>
            <a:ext cx="670609" cy="321953"/>
          </a:xfrm>
          <a:prstGeom prst="rect">
            <a:avLst/>
          </a:prstGeom>
          <a:solidFill>
            <a:schemeClr val="bg2"/>
          </a:solidFill>
          <a:ln w="12700" cap="flat">
            <a:no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a:ln>
                  <a:noFill/>
                </a:ln>
                <a:solidFill>
                  <a:schemeClr val="tx1"/>
                </a:solidFill>
                <a:effectLst/>
                <a:uFillTx/>
                <a:latin typeface="+mn-lt"/>
                <a:ea typeface="+mn-ea"/>
                <a:cs typeface="+mn-cs"/>
                <a:sym typeface="Helvetica Neue Medium"/>
              </a:rPr>
              <a:t>[0.5, None]</a:t>
            </a:r>
          </a:p>
        </p:txBody>
      </p:sp>
      <p:sp>
        <p:nvSpPr>
          <p:cNvPr id="40" name="Rectangle 39">
            <a:extLst>
              <a:ext uri="{FF2B5EF4-FFF2-40B4-BE49-F238E27FC236}">
                <a16:creationId xmlns:a16="http://schemas.microsoft.com/office/drawing/2014/main" id="{E9A43138-DA39-9F0A-BBBA-5B65A52B272F}"/>
              </a:ext>
            </a:extLst>
          </p:cNvPr>
          <p:cNvSpPr/>
          <p:nvPr/>
        </p:nvSpPr>
        <p:spPr>
          <a:xfrm>
            <a:off x="6967975" y="5184508"/>
            <a:ext cx="670609" cy="321953"/>
          </a:xfrm>
          <a:prstGeom prst="rect">
            <a:avLst/>
          </a:prstGeom>
          <a:solidFill>
            <a:schemeClr val="bg2"/>
          </a:solidFill>
          <a:ln w="12700" cap="flat">
            <a:no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a:ln>
                  <a:noFill/>
                </a:ln>
                <a:solidFill>
                  <a:schemeClr val="tx1"/>
                </a:solidFill>
                <a:effectLst/>
                <a:uFillTx/>
                <a:latin typeface="+mn-lt"/>
                <a:ea typeface="+mn-ea"/>
                <a:cs typeface="+mn-cs"/>
                <a:sym typeface="Helvetica Neue Medium"/>
              </a:rPr>
              <a:t>[1, </a:t>
            </a:r>
            <a:r>
              <a:rPr kumimoji="0" lang="en-US" sz="1000" b="0" i="0" u="none" strike="sngStrike" cap="none" spc="0" normalizeH="0" baseline="0">
                <a:ln>
                  <a:noFill/>
                </a:ln>
                <a:solidFill>
                  <a:schemeClr val="tx1"/>
                </a:solidFill>
                <a:effectLst/>
                <a:uFillTx/>
                <a:latin typeface="+mn-lt"/>
                <a:ea typeface="+mn-ea"/>
                <a:cs typeface="+mn-cs"/>
                <a:sym typeface="Helvetica Neue Medium"/>
              </a:rPr>
              <a:t>2</a:t>
            </a:r>
            <a:r>
              <a:rPr kumimoji="0" lang="en-US" sz="1000" b="0" i="0" u="none" strike="noStrike" cap="none" spc="0" normalizeH="0" baseline="0">
                <a:ln>
                  <a:noFill/>
                </a:ln>
                <a:solidFill>
                  <a:schemeClr val="tx1"/>
                </a:solidFill>
                <a:effectLst/>
                <a:uFillTx/>
                <a:latin typeface="+mn-lt"/>
                <a:ea typeface="+mn-ea"/>
                <a:cs typeface="+mn-cs"/>
                <a:sym typeface="Helvetica Neue Medium"/>
              </a:rPr>
              <a:t>]</a:t>
            </a:r>
          </a:p>
        </p:txBody>
      </p:sp>
      <p:sp>
        <p:nvSpPr>
          <p:cNvPr id="43" name="Rectangle 42">
            <a:extLst>
              <a:ext uri="{FF2B5EF4-FFF2-40B4-BE49-F238E27FC236}">
                <a16:creationId xmlns:a16="http://schemas.microsoft.com/office/drawing/2014/main" id="{3F5FEA69-EAF6-CB82-FE60-84F206D78477}"/>
              </a:ext>
            </a:extLst>
          </p:cNvPr>
          <p:cNvSpPr/>
          <p:nvPr/>
        </p:nvSpPr>
        <p:spPr>
          <a:xfrm>
            <a:off x="6967975" y="4704206"/>
            <a:ext cx="670609" cy="321953"/>
          </a:xfrm>
          <a:prstGeom prst="rect">
            <a:avLst/>
          </a:prstGeom>
          <a:solidFill>
            <a:schemeClr val="bg2"/>
          </a:solidFill>
          <a:ln w="12700" cap="flat">
            <a:no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a:ln>
                  <a:noFill/>
                </a:ln>
                <a:solidFill>
                  <a:schemeClr val="tx1"/>
                </a:solidFill>
                <a:effectLst/>
                <a:uFillTx/>
                <a:latin typeface="+mn-lt"/>
                <a:ea typeface="+mn-ea"/>
                <a:cs typeface="+mn-cs"/>
                <a:sym typeface="Helvetica Neue Medium"/>
              </a:rPr>
              <a:t>[0.01, None]</a:t>
            </a:r>
          </a:p>
        </p:txBody>
      </p:sp>
      <p:sp>
        <p:nvSpPr>
          <p:cNvPr id="44" name="Rectangle 43">
            <a:extLst>
              <a:ext uri="{FF2B5EF4-FFF2-40B4-BE49-F238E27FC236}">
                <a16:creationId xmlns:a16="http://schemas.microsoft.com/office/drawing/2014/main" id="{7B5206EB-01ED-56D7-D57E-0CC6AC2C391A}"/>
              </a:ext>
            </a:extLst>
          </p:cNvPr>
          <p:cNvSpPr/>
          <p:nvPr/>
        </p:nvSpPr>
        <p:spPr>
          <a:xfrm>
            <a:off x="6967975" y="3263293"/>
            <a:ext cx="670609" cy="321953"/>
          </a:xfrm>
          <a:prstGeom prst="rect">
            <a:avLst/>
          </a:prstGeom>
          <a:solidFill>
            <a:schemeClr val="bg2"/>
          </a:solidFill>
          <a:ln w="12700" cap="flat">
            <a:no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a:ln>
                  <a:noFill/>
                </a:ln>
                <a:solidFill>
                  <a:schemeClr val="tx1"/>
                </a:solidFill>
                <a:effectLst/>
                <a:uFillTx/>
                <a:latin typeface="+mn-lt"/>
                <a:ea typeface="+mn-ea"/>
                <a:cs typeface="+mn-cs"/>
                <a:sym typeface="Helvetica Neue Medium"/>
              </a:rPr>
              <a:t>[128, 256]</a:t>
            </a:r>
          </a:p>
        </p:txBody>
      </p:sp>
      <p:sp>
        <p:nvSpPr>
          <p:cNvPr id="45" name="Rectangle 44">
            <a:extLst>
              <a:ext uri="{FF2B5EF4-FFF2-40B4-BE49-F238E27FC236}">
                <a16:creationId xmlns:a16="http://schemas.microsoft.com/office/drawing/2014/main" id="{DEF62313-D269-45F8-2069-88CE6BACFB46}"/>
              </a:ext>
            </a:extLst>
          </p:cNvPr>
          <p:cNvSpPr/>
          <p:nvPr/>
        </p:nvSpPr>
        <p:spPr>
          <a:xfrm>
            <a:off x="6967975" y="4223902"/>
            <a:ext cx="670609" cy="321953"/>
          </a:xfrm>
          <a:prstGeom prst="rect">
            <a:avLst/>
          </a:prstGeom>
          <a:solidFill>
            <a:schemeClr val="bg2"/>
          </a:solidFill>
          <a:ln w="12700" cap="flat">
            <a:noFill/>
            <a:prstDash val="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a:ln>
                  <a:noFill/>
                </a:ln>
                <a:solidFill>
                  <a:schemeClr val="tx1"/>
                </a:solidFill>
                <a:effectLst/>
                <a:uFillTx/>
                <a:latin typeface="+mn-lt"/>
                <a:ea typeface="+mn-ea"/>
                <a:cs typeface="+mn-cs"/>
                <a:sym typeface="Helvetica Neue Medium"/>
              </a:rPr>
              <a:t>[True, False]</a:t>
            </a:r>
          </a:p>
        </p:txBody>
      </p:sp>
      <p:cxnSp>
        <p:nvCxnSpPr>
          <p:cNvPr id="47" name="Straight Connector 46">
            <a:extLst>
              <a:ext uri="{FF2B5EF4-FFF2-40B4-BE49-F238E27FC236}">
                <a16:creationId xmlns:a16="http://schemas.microsoft.com/office/drawing/2014/main" id="{EB8F67BF-31D8-A431-C641-593D46083DD0}"/>
              </a:ext>
            </a:extLst>
          </p:cNvPr>
          <p:cNvCxnSpPr>
            <a:cxnSpLocks/>
          </p:cNvCxnSpPr>
          <p:nvPr/>
        </p:nvCxnSpPr>
        <p:spPr>
          <a:xfrm>
            <a:off x="6602400" y="3184117"/>
            <a:ext cx="1036184" cy="0"/>
          </a:xfrm>
          <a:prstGeom prst="line">
            <a:avLst/>
          </a:prstGeom>
          <a:noFill/>
          <a:ln w="12700" cap="flat">
            <a:solidFill>
              <a:srgbClr val="000000"/>
            </a:solidFill>
            <a:prstDash val="dash"/>
            <a:miter lim="400000"/>
          </a:ln>
          <a:effectLst/>
          <a:sp3d/>
        </p:spPr>
        <p:style>
          <a:lnRef idx="0">
            <a:scrgbClr r="0" g="0" b="0"/>
          </a:lnRef>
          <a:fillRef idx="0">
            <a:scrgbClr r="0" g="0" b="0"/>
          </a:fillRef>
          <a:effectRef idx="0">
            <a:scrgbClr r="0" g="0" b="0"/>
          </a:effectRef>
          <a:fontRef idx="none"/>
        </p:style>
      </p:cxnSp>
      <p:cxnSp>
        <p:nvCxnSpPr>
          <p:cNvPr id="48" name="Straight Connector 47">
            <a:extLst>
              <a:ext uri="{FF2B5EF4-FFF2-40B4-BE49-F238E27FC236}">
                <a16:creationId xmlns:a16="http://schemas.microsoft.com/office/drawing/2014/main" id="{22E66BD4-936F-9369-9787-8849DF3C3AE2}"/>
              </a:ext>
            </a:extLst>
          </p:cNvPr>
          <p:cNvCxnSpPr>
            <a:cxnSpLocks/>
          </p:cNvCxnSpPr>
          <p:nvPr/>
        </p:nvCxnSpPr>
        <p:spPr>
          <a:xfrm>
            <a:off x="6602400" y="3664421"/>
            <a:ext cx="1036184" cy="0"/>
          </a:xfrm>
          <a:prstGeom prst="line">
            <a:avLst/>
          </a:prstGeom>
          <a:noFill/>
          <a:ln w="12700" cap="flat">
            <a:solidFill>
              <a:srgbClr val="000000"/>
            </a:solidFill>
            <a:prstDash val="dash"/>
            <a:miter lim="400000"/>
          </a:ln>
          <a:effectLst/>
          <a:sp3d/>
        </p:spPr>
        <p:style>
          <a:lnRef idx="0">
            <a:scrgbClr r="0" g="0" b="0"/>
          </a:lnRef>
          <a:fillRef idx="0">
            <a:scrgbClr r="0" g="0" b="0"/>
          </a:fillRef>
          <a:effectRef idx="0">
            <a:scrgbClr r="0" g="0" b="0"/>
          </a:effectRef>
          <a:fontRef idx="none"/>
        </p:style>
      </p:cxnSp>
      <p:cxnSp>
        <p:nvCxnSpPr>
          <p:cNvPr id="49" name="Straight Connector 48">
            <a:extLst>
              <a:ext uri="{FF2B5EF4-FFF2-40B4-BE49-F238E27FC236}">
                <a16:creationId xmlns:a16="http://schemas.microsoft.com/office/drawing/2014/main" id="{462A5214-2A29-7FC7-106B-932CC096AF36}"/>
              </a:ext>
            </a:extLst>
          </p:cNvPr>
          <p:cNvCxnSpPr>
            <a:cxnSpLocks/>
          </p:cNvCxnSpPr>
          <p:nvPr/>
        </p:nvCxnSpPr>
        <p:spPr>
          <a:xfrm>
            <a:off x="6602400" y="4144726"/>
            <a:ext cx="1036184" cy="0"/>
          </a:xfrm>
          <a:prstGeom prst="line">
            <a:avLst/>
          </a:prstGeom>
          <a:noFill/>
          <a:ln w="12700" cap="flat">
            <a:solidFill>
              <a:srgbClr val="000000"/>
            </a:solidFill>
            <a:prstDash val="dash"/>
            <a:miter lim="400000"/>
          </a:ln>
          <a:effectLst/>
          <a:sp3d/>
        </p:spPr>
        <p:style>
          <a:lnRef idx="0">
            <a:scrgbClr r="0" g="0" b="0"/>
          </a:lnRef>
          <a:fillRef idx="0">
            <a:scrgbClr r="0" g="0" b="0"/>
          </a:fillRef>
          <a:effectRef idx="0">
            <a:scrgbClr r="0" g="0" b="0"/>
          </a:effectRef>
          <a:fontRef idx="none"/>
        </p:style>
      </p:cxnSp>
      <p:cxnSp>
        <p:nvCxnSpPr>
          <p:cNvPr id="50" name="Straight Connector 49">
            <a:extLst>
              <a:ext uri="{FF2B5EF4-FFF2-40B4-BE49-F238E27FC236}">
                <a16:creationId xmlns:a16="http://schemas.microsoft.com/office/drawing/2014/main" id="{D53FAD4D-F919-B385-4875-7A3C94F6C87E}"/>
              </a:ext>
            </a:extLst>
          </p:cNvPr>
          <p:cNvCxnSpPr>
            <a:cxnSpLocks/>
          </p:cNvCxnSpPr>
          <p:nvPr/>
        </p:nvCxnSpPr>
        <p:spPr>
          <a:xfrm>
            <a:off x="6602400" y="4625030"/>
            <a:ext cx="1036184" cy="0"/>
          </a:xfrm>
          <a:prstGeom prst="line">
            <a:avLst/>
          </a:prstGeom>
          <a:noFill/>
          <a:ln w="12700" cap="flat">
            <a:solidFill>
              <a:srgbClr val="000000"/>
            </a:solidFill>
            <a:prstDash val="dash"/>
            <a:miter lim="400000"/>
          </a:ln>
          <a:effectLst/>
          <a:sp3d/>
        </p:spPr>
        <p:style>
          <a:lnRef idx="0">
            <a:scrgbClr r="0" g="0" b="0"/>
          </a:lnRef>
          <a:fillRef idx="0">
            <a:scrgbClr r="0" g="0" b="0"/>
          </a:fillRef>
          <a:effectRef idx="0">
            <a:scrgbClr r="0" g="0" b="0"/>
          </a:effectRef>
          <a:fontRef idx="none"/>
        </p:style>
      </p:cxnSp>
      <p:cxnSp>
        <p:nvCxnSpPr>
          <p:cNvPr id="51" name="Straight Connector 50">
            <a:extLst>
              <a:ext uri="{FF2B5EF4-FFF2-40B4-BE49-F238E27FC236}">
                <a16:creationId xmlns:a16="http://schemas.microsoft.com/office/drawing/2014/main" id="{8591E552-D0D2-F463-B89E-BEC09869D30B}"/>
              </a:ext>
            </a:extLst>
          </p:cNvPr>
          <p:cNvCxnSpPr>
            <a:cxnSpLocks/>
          </p:cNvCxnSpPr>
          <p:nvPr/>
        </p:nvCxnSpPr>
        <p:spPr>
          <a:xfrm>
            <a:off x="6602400" y="5105334"/>
            <a:ext cx="1036184" cy="0"/>
          </a:xfrm>
          <a:prstGeom prst="line">
            <a:avLst/>
          </a:prstGeom>
          <a:noFill/>
          <a:ln w="12700" cap="flat">
            <a:solidFill>
              <a:srgbClr val="000000"/>
            </a:solidFill>
            <a:prstDash val="dash"/>
            <a:miter lim="400000"/>
          </a:ln>
          <a:effectLst/>
          <a:sp3d/>
        </p:spPr>
        <p:style>
          <a:lnRef idx="0">
            <a:scrgbClr r="0" g="0" b="0"/>
          </a:lnRef>
          <a:fillRef idx="0">
            <a:scrgbClr r="0" g="0" b="0"/>
          </a:fillRef>
          <a:effectRef idx="0">
            <a:scrgbClr r="0" g="0" b="0"/>
          </a:effectRef>
          <a:fontRef idx="none"/>
        </p:style>
      </p:cxnSp>
      <p:grpSp>
        <p:nvGrpSpPr>
          <p:cNvPr id="65" name="Group 64">
            <a:extLst>
              <a:ext uri="{FF2B5EF4-FFF2-40B4-BE49-F238E27FC236}">
                <a16:creationId xmlns:a16="http://schemas.microsoft.com/office/drawing/2014/main" id="{3C921E1A-AF8B-5108-6004-0B4FE9CFF828}"/>
              </a:ext>
            </a:extLst>
          </p:cNvPr>
          <p:cNvGrpSpPr/>
          <p:nvPr/>
        </p:nvGrpSpPr>
        <p:grpSpPr>
          <a:xfrm>
            <a:off x="1232481" y="2354492"/>
            <a:ext cx="2297855" cy="3276542"/>
            <a:chOff x="964963" y="1570442"/>
            <a:chExt cx="2832890" cy="4039455"/>
          </a:xfrm>
        </p:grpSpPr>
        <p:sp>
          <p:nvSpPr>
            <p:cNvPr id="20" name="Preparation 19">
              <a:extLst>
                <a:ext uri="{FF2B5EF4-FFF2-40B4-BE49-F238E27FC236}">
                  <a16:creationId xmlns:a16="http://schemas.microsoft.com/office/drawing/2014/main" id="{EC11536F-B235-66B6-401A-AC1B4AAE43AC}"/>
                </a:ext>
              </a:extLst>
            </p:cNvPr>
            <p:cNvSpPr/>
            <p:nvPr/>
          </p:nvSpPr>
          <p:spPr>
            <a:xfrm rot="5400000">
              <a:off x="964963" y="2375628"/>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tx1"/>
                  </a:solidFill>
                  <a:effectLst/>
                  <a:uFillTx/>
                  <a:latin typeface="+mn-lt"/>
                  <a:ea typeface="+mn-ea"/>
                  <a:cs typeface="+mn-cs"/>
                  <a:sym typeface="Helvetica Neue Medium"/>
                </a:rPr>
                <a:t>VGG16</a:t>
              </a:r>
            </a:p>
          </p:txBody>
        </p:sp>
        <p:sp>
          <p:nvSpPr>
            <p:cNvPr id="21" name="Preparation 20">
              <a:extLst>
                <a:ext uri="{FF2B5EF4-FFF2-40B4-BE49-F238E27FC236}">
                  <a16:creationId xmlns:a16="http://schemas.microsoft.com/office/drawing/2014/main" id="{1A897ED0-800B-ADD6-B6DF-B1889AB42BC4}"/>
                </a:ext>
              </a:extLst>
            </p:cNvPr>
            <p:cNvSpPr/>
            <p:nvPr/>
          </p:nvSpPr>
          <p:spPr>
            <a:xfrm rot="5400000">
              <a:off x="1956018" y="2375629"/>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algn="ctr" defTabSz="825500" hangingPunct="0"/>
              <a:r>
                <a:rPr lang="en-US" sz="800">
                  <a:sym typeface="Helvetica Neue Medium"/>
                </a:rPr>
                <a:t>VGG19</a:t>
              </a:r>
            </a:p>
          </p:txBody>
        </p:sp>
        <p:sp>
          <p:nvSpPr>
            <p:cNvPr id="22" name="Preparation 21">
              <a:extLst>
                <a:ext uri="{FF2B5EF4-FFF2-40B4-BE49-F238E27FC236}">
                  <a16:creationId xmlns:a16="http://schemas.microsoft.com/office/drawing/2014/main" id="{784D6A02-CCA7-0CCF-635B-BA52C9F9622E}"/>
                </a:ext>
              </a:extLst>
            </p:cNvPr>
            <p:cNvSpPr/>
            <p:nvPr/>
          </p:nvSpPr>
          <p:spPr>
            <a:xfrm rot="5400000">
              <a:off x="2947075" y="2375630"/>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err="1">
                  <a:ln>
                    <a:noFill/>
                  </a:ln>
                  <a:solidFill>
                    <a:schemeClr val="tx1"/>
                  </a:solidFill>
                  <a:effectLst/>
                  <a:uFillTx/>
                  <a:latin typeface="+mn-lt"/>
                  <a:ea typeface="+mn-ea"/>
                  <a:cs typeface="+mn-cs"/>
                  <a:sym typeface="Helvetica Neue Medium"/>
                </a:rPr>
                <a:t>MobileNet</a:t>
              </a:r>
              <a:r>
                <a:rPr kumimoji="0" lang="en-US" sz="800" b="0" i="0" u="none" strike="noStrike" cap="none" spc="0" normalizeH="0" baseline="0">
                  <a:ln>
                    <a:noFill/>
                  </a:ln>
                  <a:solidFill>
                    <a:schemeClr val="tx1"/>
                  </a:solidFill>
                  <a:effectLst/>
                  <a:uFillTx/>
                  <a:latin typeface="+mn-lt"/>
                  <a:ea typeface="+mn-ea"/>
                  <a:cs typeface="+mn-cs"/>
                  <a:sym typeface="Helvetica Neue Medium"/>
                </a:rPr>
                <a:t> V2</a:t>
              </a:r>
            </a:p>
          </p:txBody>
        </p:sp>
        <p:sp>
          <p:nvSpPr>
            <p:cNvPr id="23" name="Preparation 22">
              <a:extLst>
                <a:ext uri="{FF2B5EF4-FFF2-40B4-BE49-F238E27FC236}">
                  <a16:creationId xmlns:a16="http://schemas.microsoft.com/office/drawing/2014/main" id="{E113A012-C7BC-A654-B6CF-0BF856FF253C}"/>
                </a:ext>
              </a:extLst>
            </p:cNvPr>
            <p:cNvSpPr/>
            <p:nvPr/>
          </p:nvSpPr>
          <p:spPr>
            <a:xfrm rot="5400000">
              <a:off x="1460491" y="3170125"/>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tx1"/>
                  </a:solidFill>
                  <a:effectLst/>
                  <a:uFillTx/>
                  <a:latin typeface="+mn-lt"/>
                  <a:ea typeface="+mn-ea"/>
                  <a:cs typeface="+mn-cs"/>
                  <a:sym typeface="Helvetica Neue Medium"/>
                </a:rPr>
                <a:t>Inception V3</a:t>
              </a:r>
            </a:p>
          </p:txBody>
        </p:sp>
        <p:sp>
          <p:nvSpPr>
            <p:cNvPr id="24" name="Preparation 23">
              <a:extLst>
                <a:ext uri="{FF2B5EF4-FFF2-40B4-BE49-F238E27FC236}">
                  <a16:creationId xmlns:a16="http://schemas.microsoft.com/office/drawing/2014/main" id="{1E7D5AAF-4CBA-9546-8C8B-3142C2188970}"/>
                </a:ext>
              </a:extLst>
            </p:cNvPr>
            <p:cNvSpPr/>
            <p:nvPr/>
          </p:nvSpPr>
          <p:spPr>
            <a:xfrm rot="5400000">
              <a:off x="2451546" y="3170125"/>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800" err="1">
                  <a:sym typeface="Helvetica Neue Medium"/>
                </a:rPr>
                <a:t>Xception</a:t>
              </a:r>
              <a:endParaRPr kumimoji="0" lang="en-US" sz="800" b="0" i="0" strike="noStrike" cap="none" spc="0" normalizeH="0" baseline="0">
                <a:ln>
                  <a:noFill/>
                </a:ln>
                <a:solidFill>
                  <a:schemeClr val="tx1"/>
                </a:solidFill>
                <a:effectLst/>
                <a:uFillTx/>
                <a:latin typeface="+mn-lt"/>
                <a:ea typeface="+mn-ea"/>
                <a:cs typeface="+mn-cs"/>
                <a:sym typeface="Helvetica Neue Medium"/>
              </a:endParaRPr>
            </a:p>
          </p:txBody>
        </p:sp>
        <p:sp>
          <p:nvSpPr>
            <p:cNvPr id="25" name="Preparation 24">
              <a:extLst>
                <a:ext uri="{FF2B5EF4-FFF2-40B4-BE49-F238E27FC236}">
                  <a16:creationId xmlns:a16="http://schemas.microsoft.com/office/drawing/2014/main" id="{B5FB5617-B2C9-7E9E-78A0-EE8A24E814BC}"/>
                </a:ext>
              </a:extLst>
            </p:cNvPr>
            <p:cNvSpPr/>
            <p:nvPr/>
          </p:nvSpPr>
          <p:spPr>
            <a:xfrm rot="5400000">
              <a:off x="964963" y="3964621"/>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tx1"/>
                  </a:solidFill>
                  <a:effectLst/>
                  <a:uFillTx/>
                  <a:latin typeface="+mn-lt"/>
                  <a:ea typeface="+mn-ea"/>
                  <a:cs typeface="+mn-cs"/>
                  <a:sym typeface="Helvetica Neue Medium"/>
                </a:rPr>
                <a:t>ResNet50</a:t>
              </a:r>
            </a:p>
          </p:txBody>
        </p:sp>
        <p:sp>
          <p:nvSpPr>
            <p:cNvPr id="26" name="Preparation 25">
              <a:extLst>
                <a:ext uri="{FF2B5EF4-FFF2-40B4-BE49-F238E27FC236}">
                  <a16:creationId xmlns:a16="http://schemas.microsoft.com/office/drawing/2014/main" id="{128D80F6-CAAB-C845-A69E-8CD3C27D04E0}"/>
                </a:ext>
              </a:extLst>
            </p:cNvPr>
            <p:cNvSpPr/>
            <p:nvPr/>
          </p:nvSpPr>
          <p:spPr>
            <a:xfrm rot="5400000">
              <a:off x="1956018" y="3964622"/>
              <a:ext cx="850778" cy="850778"/>
            </a:xfrm>
            <a:prstGeom prst="flowChartPreparation">
              <a:avLst/>
            </a:prstGeom>
            <a:solidFill>
              <a:srgbClr val="CDEC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strike="noStrike" cap="none" spc="0" normalizeH="0" baseline="0">
                  <a:ln>
                    <a:noFill/>
                  </a:ln>
                  <a:solidFill>
                    <a:schemeClr val="tx1"/>
                  </a:solidFill>
                  <a:effectLst/>
                  <a:uFillTx/>
                  <a:latin typeface="+mn-lt"/>
                  <a:ea typeface="+mn-ea"/>
                  <a:cs typeface="+mn-cs"/>
                  <a:sym typeface="Helvetica Neue Medium"/>
                </a:rPr>
                <a:t>ResNet101</a:t>
              </a:r>
            </a:p>
          </p:txBody>
        </p:sp>
        <p:sp>
          <p:nvSpPr>
            <p:cNvPr id="27" name="Preparation 26">
              <a:extLst>
                <a:ext uri="{FF2B5EF4-FFF2-40B4-BE49-F238E27FC236}">
                  <a16:creationId xmlns:a16="http://schemas.microsoft.com/office/drawing/2014/main" id="{951B1FEB-6B8A-87F5-065A-6AA290D55316}"/>
                </a:ext>
              </a:extLst>
            </p:cNvPr>
            <p:cNvSpPr/>
            <p:nvPr/>
          </p:nvSpPr>
          <p:spPr>
            <a:xfrm rot="5400000">
              <a:off x="2947075" y="3964623"/>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err="1">
                  <a:ln>
                    <a:noFill/>
                  </a:ln>
                  <a:solidFill>
                    <a:schemeClr val="tx1"/>
                  </a:solidFill>
                  <a:effectLst/>
                  <a:uFillTx/>
                  <a:latin typeface="+mn-lt"/>
                  <a:ea typeface="+mn-ea"/>
                  <a:cs typeface="+mn-cs"/>
                  <a:sym typeface="Helvetica Neue Medium"/>
                </a:rPr>
                <a:t>NASNet</a:t>
              </a:r>
              <a:r>
                <a:rPr kumimoji="0" lang="en-US" sz="800" b="0" i="0" u="none" strike="noStrike" cap="none" spc="0" normalizeH="0" baseline="0">
                  <a:ln>
                    <a:noFill/>
                  </a:ln>
                  <a:solidFill>
                    <a:schemeClr val="tx1"/>
                  </a:solidFill>
                  <a:effectLst/>
                  <a:uFillTx/>
                  <a:latin typeface="+mn-lt"/>
                  <a:ea typeface="+mn-ea"/>
                  <a:cs typeface="+mn-cs"/>
                  <a:sym typeface="Helvetica Neue Medium"/>
                </a:rPr>
                <a:t> Mobile</a:t>
              </a:r>
            </a:p>
          </p:txBody>
        </p:sp>
        <p:sp>
          <p:nvSpPr>
            <p:cNvPr id="28" name="Preparation 27">
              <a:extLst>
                <a:ext uri="{FF2B5EF4-FFF2-40B4-BE49-F238E27FC236}">
                  <a16:creationId xmlns:a16="http://schemas.microsoft.com/office/drawing/2014/main" id="{86E395B4-55EC-982B-40C1-06E20B25F669}"/>
                </a:ext>
              </a:extLst>
            </p:cNvPr>
            <p:cNvSpPr/>
            <p:nvPr/>
          </p:nvSpPr>
          <p:spPr>
            <a:xfrm rot="5400000">
              <a:off x="1460491" y="4759119"/>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err="1">
                  <a:ln>
                    <a:noFill/>
                  </a:ln>
                  <a:solidFill>
                    <a:schemeClr val="tx1"/>
                  </a:solidFill>
                  <a:effectLst/>
                  <a:uFillTx/>
                  <a:latin typeface="+mn-lt"/>
                  <a:ea typeface="+mn-ea"/>
                  <a:cs typeface="+mn-cs"/>
                  <a:sym typeface="Helvetica Neue Medium"/>
                </a:rPr>
                <a:t>DenseNet</a:t>
              </a:r>
              <a:r>
                <a:rPr kumimoji="0" lang="en-US" sz="800" b="0" i="0" u="none" strike="noStrike" cap="none" spc="0" normalizeH="0" baseline="0">
                  <a:ln>
                    <a:noFill/>
                  </a:ln>
                  <a:solidFill>
                    <a:schemeClr val="tx1"/>
                  </a:solidFill>
                  <a:effectLst/>
                  <a:uFillTx/>
                  <a:latin typeface="+mn-lt"/>
                  <a:ea typeface="+mn-ea"/>
                  <a:cs typeface="+mn-cs"/>
                  <a:sym typeface="Helvetica Neue Medium"/>
                </a:rPr>
                <a:t> 121</a:t>
              </a:r>
            </a:p>
          </p:txBody>
        </p:sp>
        <p:sp>
          <p:nvSpPr>
            <p:cNvPr id="29" name="Preparation 28">
              <a:extLst>
                <a:ext uri="{FF2B5EF4-FFF2-40B4-BE49-F238E27FC236}">
                  <a16:creationId xmlns:a16="http://schemas.microsoft.com/office/drawing/2014/main" id="{72920A7D-251B-AF3F-269F-775C001B301E}"/>
                </a:ext>
              </a:extLst>
            </p:cNvPr>
            <p:cNvSpPr/>
            <p:nvPr/>
          </p:nvSpPr>
          <p:spPr>
            <a:xfrm rot="5400000">
              <a:off x="2451546" y="4759119"/>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strike="noStrike" cap="none" spc="0" normalizeH="0" baseline="0">
                  <a:ln>
                    <a:noFill/>
                  </a:ln>
                  <a:solidFill>
                    <a:schemeClr val="tx1"/>
                  </a:solidFill>
                  <a:effectLst/>
                  <a:uFillTx/>
                  <a:latin typeface="+mn-lt"/>
                  <a:ea typeface="+mn-ea"/>
                  <a:cs typeface="+mn-cs"/>
                  <a:sym typeface="Helvetica Neue Medium"/>
                </a:rPr>
                <a:t>EfficientNetB0</a:t>
              </a:r>
            </a:p>
          </p:txBody>
        </p:sp>
        <p:sp>
          <p:nvSpPr>
            <p:cNvPr id="63" name="Preparation 62">
              <a:extLst>
                <a:ext uri="{FF2B5EF4-FFF2-40B4-BE49-F238E27FC236}">
                  <a16:creationId xmlns:a16="http://schemas.microsoft.com/office/drawing/2014/main" id="{FDFE857B-EFC3-48F1-7045-6186010921A9}"/>
                </a:ext>
              </a:extLst>
            </p:cNvPr>
            <p:cNvSpPr/>
            <p:nvPr/>
          </p:nvSpPr>
          <p:spPr>
            <a:xfrm rot="5400000">
              <a:off x="1460491" y="1570442"/>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tx1"/>
                  </a:solidFill>
                  <a:effectLst/>
                  <a:uFillTx/>
                  <a:latin typeface="+mn-lt"/>
                  <a:ea typeface="+mn-ea"/>
                  <a:cs typeface="+mn-cs"/>
                  <a:sym typeface="Helvetica Neue Medium"/>
                </a:rPr>
                <a:t>Baseline CNN</a:t>
              </a:r>
            </a:p>
          </p:txBody>
        </p:sp>
        <p:sp>
          <p:nvSpPr>
            <p:cNvPr id="64" name="Preparation 63">
              <a:extLst>
                <a:ext uri="{FF2B5EF4-FFF2-40B4-BE49-F238E27FC236}">
                  <a16:creationId xmlns:a16="http://schemas.microsoft.com/office/drawing/2014/main" id="{04DABA54-0304-B01B-612E-7FAC1706426E}"/>
                </a:ext>
              </a:extLst>
            </p:cNvPr>
            <p:cNvSpPr/>
            <p:nvPr/>
          </p:nvSpPr>
          <p:spPr>
            <a:xfrm rot="5400000">
              <a:off x="2451546" y="1570442"/>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strike="noStrike" cap="none" spc="0" normalizeH="0" baseline="0">
                  <a:ln>
                    <a:noFill/>
                  </a:ln>
                  <a:solidFill>
                    <a:schemeClr val="tx1"/>
                  </a:solidFill>
                  <a:effectLst/>
                  <a:uFillTx/>
                  <a:latin typeface="+mn-lt"/>
                  <a:ea typeface="+mn-ea"/>
                  <a:cs typeface="+mn-cs"/>
                  <a:sym typeface="Helvetica Neue Medium"/>
                </a:rPr>
                <a:t>Benchmark CNN</a:t>
              </a:r>
            </a:p>
          </p:txBody>
        </p:sp>
      </p:grpSp>
      <p:graphicFrame>
        <p:nvGraphicFramePr>
          <p:cNvPr id="66" name="Diagram 65">
            <a:extLst>
              <a:ext uri="{FF2B5EF4-FFF2-40B4-BE49-F238E27FC236}">
                <a16:creationId xmlns:a16="http://schemas.microsoft.com/office/drawing/2014/main" id="{6D45BFD8-B96F-4547-3B92-95A1B8B0716D}"/>
              </a:ext>
            </a:extLst>
          </p:cNvPr>
          <p:cNvGraphicFramePr/>
          <p:nvPr>
            <p:extLst>
              <p:ext uri="{D42A27DB-BD31-4B8C-83A1-F6EECF244321}">
                <p14:modId xmlns:p14="http://schemas.microsoft.com/office/powerpoint/2010/main" val="3168193803"/>
              </p:ext>
            </p:extLst>
          </p:nvPr>
        </p:nvGraphicFramePr>
        <p:xfrm>
          <a:off x="8186236" y="2354491"/>
          <a:ext cx="3288757" cy="322087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877959827"/>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EB5EAA25-5E9B-D963-60B6-88AB5BBC01C9}"/>
              </a:ext>
            </a:extLst>
          </p:cNvPr>
          <p:cNvSpPr>
            <a:spLocks noGrp="1"/>
          </p:cNvSpPr>
          <p:nvPr>
            <p:ph type="body" sz="quarter" idx="14"/>
          </p:nvPr>
        </p:nvSpPr>
        <p:spPr/>
        <p:txBody>
          <a:bodyPr/>
          <a:lstStyle/>
          <a:p>
            <a:r>
              <a:rPr lang="en-US"/>
              <a:t>Transforming Blood-Based Disease Diagnostics with AI</a:t>
            </a:r>
          </a:p>
          <a:p>
            <a:endParaRPr lang="en-US"/>
          </a:p>
        </p:txBody>
      </p:sp>
      <p:sp>
        <p:nvSpPr>
          <p:cNvPr id="3" name="Textplatzhalter 2">
            <a:extLst>
              <a:ext uri="{FF2B5EF4-FFF2-40B4-BE49-F238E27FC236}">
                <a16:creationId xmlns:a16="http://schemas.microsoft.com/office/drawing/2014/main" id="{7988F922-F0EA-6EA4-18D8-FD13A0098F50}"/>
              </a:ext>
            </a:extLst>
          </p:cNvPr>
          <p:cNvSpPr>
            <a:spLocks noGrp="1"/>
          </p:cNvSpPr>
          <p:nvPr>
            <p:ph type="body" sz="quarter" idx="15"/>
          </p:nvPr>
        </p:nvSpPr>
        <p:spPr/>
        <p:txBody>
          <a:bodyPr lIns="91440" tIns="45720" rIns="91440" bIns="45720" anchor="t"/>
          <a:lstStyle/>
          <a:p>
            <a:r>
              <a:rPr lang="en-US" err="1"/>
              <a:t>BloodCell</a:t>
            </a:r>
            <a:r>
              <a:rPr lang="en-US"/>
              <a:t> AI wants to revolutionize blood-based disease diagnostics through artificial intelligence</a:t>
            </a:r>
          </a:p>
        </p:txBody>
      </p:sp>
      <p:sp>
        <p:nvSpPr>
          <p:cNvPr id="5" name="Rechteck 4">
            <a:extLst>
              <a:ext uri="{FF2B5EF4-FFF2-40B4-BE49-F238E27FC236}">
                <a16:creationId xmlns:a16="http://schemas.microsoft.com/office/drawing/2014/main" id="{54587E6A-6ACE-2E21-4C03-679E04C632A8}"/>
              </a:ext>
            </a:extLst>
          </p:cNvPr>
          <p:cNvSpPr/>
          <p:nvPr/>
        </p:nvSpPr>
        <p:spPr>
          <a:xfrm>
            <a:off x="442913" y="3319532"/>
            <a:ext cx="2698639" cy="15187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171450" indent="-171450" defTabSz="825500" hangingPunct="0">
              <a:buFont typeface="Arial" panose="020B0604020202020204" pitchFamily="34" charset="0"/>
              <a:buChar char="•"/>
            </a:pPr>
            <a:r>
              <a:rPr lang="en-US" sz="1200">
                <a:sym typeface="Helvetica Neue Medium"/>
              </a:rPr>
              <a:t>Blood Cell</a:t>
            </a:r>
            <a:r>
              <a:rPr kumimoji="0" lang="en-US" sz="1200" b="0" i="0" u="none" strike="noStrike" cap="none" spc="0" normalizeH="0" baseline="0">
                <a:ln>
                  <a:noFill/>
                </a:ln>
                <a:effectLst/>
                <a:uFillTx/>
                <a:latin typeface="+mn-lt"/>
                <a:ea typeface="+mn-ea"/>
                <a:cs typeface="+mn-cs"/>
                <a:sym typeface="Helvetica Neue Medium"/>
              </a:rPr>
              <a:t> AI identifies and classifies blood cell subtypes </a:t>
            </a:r>
            <a:r>
              <a:rPr lang="en-US" sz="1200">
                <a:sym typeface="Helvetica Neue Medium"/>
              </a:rPr>
              <a:t>such as</a:t>
            </a:r>
            <a:r>
              <a:rPr kumimoji="0" lang="en-US" sz="1200" b="0" i="0" u="none" strike="noStrike" cap="none" spc="0" normalizeH="0" baseline="0">
                <a:ln>
                  <a:noFill/>
                </a:ln>
                <a:effectLst/>
                <a:uFillTx/>
                <a:latin typeface="+mn-lt"/>
                <a:ea typeface="+mn-ea"/>
                <a:cs typeface="+mn-cs"/>
                <a:sym typeface="Helvetica Neue Medium"/>
              </a:rPr>
              <a:t> Eosinophils, Lymphocytes, Monocytes, and Neutrophils</a:t>
            </a:r>
          </a:p>
          <a:p>
            <a:pPr marL="171450" marR="0" indent="-1714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200" b="0" i="0" u="none" strike="noStrike" cap="none" spc="0" normalizeH="0" baseline="0">
                <a:ln>
                  <a:noFill/>
                </a:ln>
                <a:effectLst/>
                <a:uFillTx/>
                <a:latin typeface="+mn-lt"/>
                <a:ea typeface="+mn-ea"/>
                <a:cs typeface="+mn-cs"/>
                <a:sym typeface="Helvetica Neue Medium"/>
              </a:rPr>
              <a:t>Utilizes cutting-edge AI technology that is trained on a comprehensive dataset of high-resolution blood cell images</a:t>
            </a:r>
            <a:endParaRPr lang="en-US" sz="1200" b="0" i="0" u="none" strike="noStrike" cap="none" spc="0" normalizeH="0" baseline="0">
              <a:ln>
                <a:noFill/>
              </a:ln>
              <a:effectLst/>
              <a:uFillTx/>
              <a:latin typeface="+mn-lt"/>
              <a:ea typeface="+mn-ea"/>
              <a:cs typeface="+mn-cs"/>
            </a:endParaRPr>
          </a:p>
        </p:txBody>
      </p:sp>
      <p:sp>
        <p:nvSpPr>
          <p:cNvPr id="6" name="Rechteck 5">
            <a:extLst>
              <a:ext uri="{FF2B5EF4-FFF2-40B4-BE49-F238E27FC236}">
                <a16:creationId xmlns:a16="http://schemas.microsoft.com/office/drawing/2014/main" id="{E5CBFAB4-A898-EBB5-CFF6-5860E63DA9D2}"/>
              </a:ext>
            </a:extLst>
          </p:cNvPr>
          <p:cNvSpPr/>
          <p:nvPr/>
        </p:nvSpPr>
        <p:spPr>
          <a:xfrm>
            <a:off x="3312091" y="3319532"/>
            <a:ext cx="2698639" cy="15187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171450" marR="0" indent="-1714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200" b="0" i="0" u="none" strike="noStrike" cap="none" spc="0" normalizeH="0" baseline="0">
                <a:ln>
                  <a:noFill/>
                </a:ln>
                <a:solidFill>
                  <a:schemeClr val="tx1"/>
                </a:solidFill>
                <a:effectLst/>
                <a:uFillTx/>
                <a:latin typeface="+mn-lt"/>
                <a:ea typeface="+mn-ea"/>
                <a:cs typeface="+mn-cs"/>
                <a:sym typeface="Helvetica Neue Medium"/>
              </a:rPr>
              <a:t>Essential for diagnosing conditions such as asthma (identified by elevated Eosinophil counts) and detecting infections or immune responses (noted by variations in Lymphocyte and Monocyte levels)</a:t>
            </a:r>
          </a:p>
        </p:txBody>
      </p:sp>
      <p:sp>
        <p:nvSpPr>
          <p:cNvPr id="7" name="Rechteck 6">
            <a:extLst>
              <a:ext uri="{FF2B5EF4-FFF2-40B4-BE49-F238E27FC236}">
                <a16:creationId xmlns:a16="http://schemas.microsoft.com/office/drawing/2014/main" id="{F7F7936D-ADA2-34D7-ECF3-9F5A9C53337E}"/>
              </a:ext>
            </a:extLst>
          </p:cNvPr>
          <p:cNvSpPr/>
          <p:nvPr/>
        </p:nvSpPr>
        <p:spPr>
          <a:xfrm>
            <a:off x="6181269" y="3319532"/>
            <a:ext cx="2698639" cy="15187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171450" marR="0" indent="-1714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200" b="0" i="0" u="none" strike="noStrike" cap="none" spc="0" normalizeH="0" baseline="0">
                <a:ln>
                  <a:noFill/>
                </a:ln>
                <a:solidFill>
                  <a:schemeClr val="tx1"/>
                </a:solidFill>
                <a:effectLst/>
                <a:uFillTx/>
                <a:latin typeface="+mn-lt"/>
                <a:ea typeface="+mn-ea"/>
                <a:cs typeface="+mn-cs"/>
                <a:sym typeface="Helvetica Neue Medium"/>
              </a:rPr>
              <a:t>Cutting diagnostic time from hours to minutes is a vital step that saves precious time, ultimately contributing to saving lives</a:t>
            </a:r>
          </a:p>
          <a:p>
            <a:pPr marL="171450" marR="0" indent="-1714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200" b="0" i="0" u="none" strike="noStrike" cap="none" spc="0" normalizeH="0" baseline="0">
                <a:ln>
                  <a:noFill/>
                </a:ln>
                <a:solidFill>
                  <a:schemeClr val="tx1"/>
                </a:solidFill>
                <a:effectLst/>
                <a:uFillTx/>
                <a:latin typeface="+mn-lt"/>
                <a:ea typeface="+mn-ea"/>
                <a:cs typeface="+mn-cs"/>
                <a:sym typeface="Helvetica Neue Medium"/>
              </a:rPr>
              <a:t>Minimizes human error, ensuring rapid and informed treatment decisions</a:t>
            </a:r>
          </a:p>
        </p:txBody>
      </p:sp>
      <p:sp>
        <p:nvSpPr>
          <p:cNvPr id="8" name="Rechteck 7">
            <a:extLst>
              <a:ext uri="{FF2B5EF4-FFF2-40B4-BE49-F238E27FC236}">
                <a16:creationId xmlns:a16="http://schemas.microsoft.com/office/drawing/2014/main" id="{B3F271A0-88FB-6537-41CE-BABDC167CA91}"/>
              </a:ext>
            </a:extLst>
          </p:cNvPr>
          <p:cNvSpPr/>
          <p:nvPr/>
        </p:nvSpPr>
        <p:spPr>
          <a:xfrm>
            <a:off x="9050448" y="3319532"/>
            <a:ext cx="2698639" cy="15187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171450" marR="0" indent="-1714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200" b="0" i="0" u="none" strike="noStrike" cap="none" spc="0" normalizeH="0" baseline="0">
                <a:ln>
                  <a:noFill/>
                </a:ln>
                <a:solidFill>
                  <a:schemeClr val="tx1"/>
                </a:solidFill>
                <a:effectLst/>
                <a:uFillTx/>
                <a:latin typeface="+mn-lt"/>
                <a:ea typeface="+mn-ea"/>
                <a:cs typeface="+mn-cs"/>
                <a:sym typeface="Helvetica Neue Medium"/>
              </a:rPr>
              <a:t>AI models seamlessly integrate into existing healthcare systems</a:t>
            </a:r>
          </a:p>
          <a:p>
            <a:pPr marL="171450" marR="0" indent="-1714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200" b="0" i="0" u="none" strike="noStrike" cap="none" spc="0" normalizeH="0" baseline="0">
                <a:ln>
                  <a:noFill/>
                </a:ln>
                <a:solidFill>
                  <a:schemeClr val="tx1"/>
                </a:solidFill>
                <a:effectLst/>
                <a:uFillTx/>
                <a:latin typeface="+mn-lt"/>
                <a:ea typeface="+mn-ea"/>
                <a:cs typeface="+mn-cs"/>
                <a:sym typeface="Helvetica Neue Medium"/>
              </a:rPr>
              <a:t>Makes state-of-the-art diagnostics accessible worldwide, ensuring precise and reliable blood sample analysis for a wide range of people</a:t>
            </a:r>
          </a:p>
        </p:txBody>
      </p:sp>
      <p:sp>
        <p:nvSpPr>
          <p:cNvPr id="9" name="Rechteck 8">
            <a:extLst>
              <a:ext uri="{FF2B5EF4-FFF2-40B4-BE49-F238E27FC236}">
                <a16:creationId xmlns:a16="http://schemas.microsoft.com/office/drawing/2014/main" id="{F8E362FD-ED82-9D2F-1E1C-ECFBFCB4EF47}"/>
              </a:ext>
            </a:extLst>
          </p:cNvPr>
          <p:cNvSpPr/>
          <p:nvPr/>
        </p:nvSpPr>
        <p:spPr>
          <a:xfrm>
            <a:off x="952500" y="5173980"/>
            <a:ext cx="10796588" cy="51497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defTabSz="825500" rtl="0" fontAlgn="auto" latinLnBrk="0" hangingPunct="0">
              <a:lnSpc>
                <a:spcPct val="100000"/>
              </a:lnSpc>
              <a:spcBef>
                <a:spcPts val="0"/>
              </a:spcBef>
              <a:spcAft>
                <a:spcPts val="0"/>
              </a:spcAft>
              <a:buClrTx/>
              <a:buSzTx/>
              <a:buFontTx/>
              <a:buNone/>
              <a:tabLst/>
            </a:pPr>
            <a:r>
              <a:rPr kumimoji="0" lang="en-US" sz="1400" b="1" i="0" u="none" strike="noStrike" cap="none" spc="0" normalizeH="0" baseline="0" err="1">
                <a:ln>
                  <a:noFill/>
                </a:ln>
                <a:solidFill>
                  <a:schemeClr val="tx1"/>
                </a:solidFill>
                <a:effectLst/>
                <a:uFillTx/>
                <a:latin typeface="+mn-lt"/>
                <a:ea typeface="+mn-ea"/>
                <a:cs typeface="+mn-cs"/>
                <a:sym typeface="Helvetica Neue Medium"/>
              </a:rPr>
              <a:t>BloodCell</a:t>
            </a:r>
            <a:r>
              <a:rPr kumimoji="0" lang="en-US" sz="1400" b="1" i="0" u="none" strike="noStrike" cap="none" spc="0" normalizeH="0" baseline="0">
                <a:ln>
                  <a:noFill/>
                </a:ln>
                <a:solidFill>
                  <a:schemeClr val="tx1"/>
                </a:solidFill>
                <a:effectLst/>
                <a:uFillTx/>
                <a:latin typeface="+mn-lt"/>
                <a:ea typeface="+mn-ea"/>
                <a:cs typeface="+mn-cs"/>
                <a:sym typeface="Helvetica Neue Medium"/>
              </a:rPr>
              <a:t> AI </a:t>
            </a:r>
            <a:r>
              <a:rPr lang="en-US" sz="1400" b="1">
                <a:sym typeface="Helvetica Neue Medium"/>
              </a:rPr>
              <a:t>e</a:t>
            </a:r>
            <a:r>
              <a:rPr kumimoji="0" lang="en-US" sz="1400" b="1" i="0" u="none" strike="noStrike" cap="none" spc="0" normalizeH="0" baseline="0">
                <a:ln>
                  <a:noFill/>
                </a:ln>
                <a:solidFill>
                  <a:schemeClr val="tx1"/>
                </a:solidFill>
                <a:effectLst/>
                <a:uFillTx/>
                <a:latin typeface="+mn-lt"/>
                <a:ea typeface="+mn-ea"/>
                <a:cs typeface="+mn-cs"/>
                <a:sym typeface="Helvetica Neue Medium"/>
              </a:rPr>
              <a:t>mpowers healthcare professionals to deliver superior patient care based on timely and accurate blood sample analysis. We invite you to join in transforming healthcare diagnostics with AI-driven insights!</a:t>
            </a:r>
          </a:p>
        </p:txBody>
      </p:sp>
      <p:sp>
        <p:nvSpPr>
          <p:cNvPr id="10" name="Rechteck 9">
            <a:extLst>
              <a:ext uri="{FF2B5EF4-FFF2-40B4-BE49-F238E27FC236}">
                <a16:creationId xmlns:a16="http://schemas.microsoft.com/office/drawing/2014/main" id="{432743BA-F92B-48D5-8D34-274CABF05A45}"/>
              </a:ext>
            </a:extLst>
          </p:cNvPr>
          <p:cNvSpPr/>
          <p:nvPr/>
        </p:nvSpPr>
        <p:spPr>
          <a:xfrm>
            <a:off x="442913" y="2856325"/>
            <a:ext cx="2698639" cy="460563"/>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1" i="0" u="none" strike="noStrike" cap="none" spc="0" normalizeH="0" baseline="0">
                <a:ln>
                  <a:noFill/>
                </a:ln>
                <a:solidFill>
                  <a:schemeClr val="tx1"/>
                </a:solidFill>
                <a:effectLst/>
                <a:uFillTx/>
                <a:latin typeface="+mn-lt"/>
                <a:ea typeface="+mn-ea"/>
                <a:cs typeface="+mn-cs"/>
                <a:sym typeface="Helvetica Neue Medium"/>
              </a:rPr>
              <a:t>Precise Classification</a:t>
            </a:r>
            <a:endParaRPr kumimoji="0" lang="en-US" sz="1050" b="0" i="0" u="none" strike="noStrike" cap="none" spc="0" normalizeH="0" baseline="0">
              <a:ln>
                <a:noFill/>
              </a:ln>
              <a:solidFill>
                <a:schemeClr val="tx1"/>
              </a:solidFill>
              <a:effectLst/>
              <a:uFillTx/>
              <a:latin typeface="+mn-lt"/>
              <a:ea typeface="+mn-ea"/>
              <a:cs typeface="+mn-cs"/>
              <a:sym typeface="Helvetica Neue Medium"/>
            </a:endParaRPr>
          </a:p>
        </p:txBody>
      </p:sp>
      <p:sp>
        <p:nvSpPr>
          <p:cNvPr id="11" name="Rechteck 10">
            <a:extLst>
              <a:ext uri="{FF2B5EF4-FFF2-40B4-BE49-F238E27FC236}">
                <a16:creationId xmlns:a16="http://schemas.microsoft.com/office/drawing/2014/main" id="{CCA1B1A6-90ED-F3AF-953B-47E05C413FF6}"/>
              </a:ext>
            </a:extLst>
          </p:cNvPr>
          <p:cNvSpPr/>
          <p:nvPr/>
        </p:nvSpPr>
        <p:spPr>
          <a:xfrm>
            <a:off x="3312091" y="2856325"/>
            <a:ext cx="2698639" cy="460563"/>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1" i="0" u="none" strike="noStrike" cap="none" spc="0" normalizeH="0" baseline="0">
                <a:ln>
                  <a:noFill/>
                </a:ln>
                <a:solidFill>
                  <a:schemeClr val="tx1"/>
                </a:solidFill>
                <a:effectLst/>
                <a:uFillTx/>
                <a:latin typeface="+mn-lt"/>
                <a:ea typeface="+mn-ea"/>
                <a:cs typeface="+mn-cs"/>
                <a:sym typeface="Helvetica Neue Medium"/>
              </a:rPr>
              <a:t>Clinical Significance</a:t>
            </a:r>
            <a:endParaRPr kumimoji="0" lang="en-US" sz="1050" b="0" i="0" u="none" strike="noStrike" cap="none" spc="0" normalizeH="0" baseline="0">
              <a:ln>
                <a:noFill/>
              </a:ln>
              <a:solidFill>
                <a:schemeClr val="tx1"/>
              </a:solidFill>
              <a:effectLst/>
              <a:uFillTx/>
              <a:latin typeface="+mn-lt"/>
              <a:ea typeface="+mn-ea"/>
              <a:cs typeface="+mn-cs"/>
              <a:sym typeface="Helvetica Neue Medium"/>
            </a:endParaRPr>
          </a:p>
        </p:txBody>
      </p:sp>
      <p:sp>
        <p:nvSpPr>
          <p:cNvPr id="12" name="Rechteck 11">
            <a:extLst>
              <a:ext uri="{FF2B5EF4-FFF2-40B4-BE49-F238E27FC236}">
                <a16:creationId xmlns:a16="http://schemas.microsoft.com/office/drawing/2014/main" id="{D893075F-A913-5385-5C89-0A0A6FDA0D36}"/>
              </a:ext>
            </a:extLst>
          </p:cNvPr>
          <p:cNvSpPr/>
          <p:nvPr/>
        </p:nvSpPr>
        <p:spPr>
          <a:xfrm>
            <a:off x="6181269" y="2856325"/>
            <a:ext cx="2698639" cy="460563"/>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1" i="0" u="none" strike="noStrike" cap="none" spc="0" normalizeH="0" baseline="0">
                <a:ln>
                  <a:noFill/>
                </a:ln>
                <a:solidFill>
                  <a:schemeClr val="tx1"/>
                </a:solidFill>
                <a:effectLst/>
                <a:uFillTx/>
                <a:latin typeface="+mn-lt"/>
                <a:ea typeface="+mn-ea"/>
                <a:cs typeface="+mn-cs"/>
                <a:sym typeface="Helvetica Neue Medium"/>
              </a:rPr>
              <a:t>Efficiency and Reliability</a:t>
            </a:r>
            <a:endParaRPr kumimoji="0" lang="en-US" sz="1050" b="0" i="0" u="none" strike="noStrike" cap="none" spc="0" normalizeH="0" baseline="0">
              <a:ln>
                <a:noFill/>
              </a:ln>
              <a:solidFill>
                <a:schemeClr val="tx1"/>
              </a:solidFill>
              <a:effectLst/>
              <a:uFillTx/>
              <a:latin typeface="+mn-lt"/>
              <a:ea typeface="+mn-ea"/>
              <a:cs typeface="+mn-cs"/>
              <a:sym typeface="Helvetica Neue Medium"/>
            </a:endParaRPr>
          </a:p>
        </p:txBody>
      </p:sp>
      <p:sp>
        <p:nvSpPr>
          <p:cNvPr id="13" name="Rechteck 12">
            <a:extLst>
              <a:ext uri="{FF2B5EF4-FFF2-40B4-BE49-F238E27FC236}">
                <a16:creationId xmlns:a16="http://schemas.microsoft.com/office/drawing/2014/main" id="{CDD30432-D442-E3D8-10FB-4C91A5EA8DCF}"/>
              </a:ext>
            </a:extLst>
          </p:cNvPr>
          <p:cNvSpPr/>
          <p:nvPr/>
        </p:nvSpPr>
        <p:spPr>
          <a:xfrm>
            <a:off x="9050448" y="2856325"/>
            <a:ext cx="2698639" cy="460563"/>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1" i="0" u="none" strike="noStrike" cap="none" spc="0" normalizeH="0" baseline="0">
                <a:ln>
                  <a:noFill/>
                </a:ln>
                <a:solidFill>
                  <a:schemeClr val="tx1"/>
                </a:solidFill>
                <a:effectLst/>
                <a:uFillTx/>
                <a:latin typeface="+mn-lt"/>
                <a:ea typeface="+mn-ea"/>
                <a:cs typeface="+mn-cs"/>
                <a:sym typeface="Helvetica Neue Medium"/>
              </a:rPr>
              <a:t>Seamless Integration</a:t>
            </a:r>
            <a:endParaRPr kumimoji="0" lang="en-US" sz="1050" b="0" i="0" u="none" strike="noStrike" cap="none" spc="0" normalizeH="0" baseline="0">
              <a:ln>
                <a:noFill/>
              </a:ln>
              <a:solidFill>
                <a:schemeClr val="tx1"/>
              </a:solidFill>
              <a:effectLst/>
              <a:uFillTx/>
              <a:latin typeface="+mn-lt"/>
              <a:ea typeface="+mn-ea"/>
              <a:cs typeface="+mn-cs"/>
              <a:sym typeface="Helvetica Neue Medium"/>
            </a:endParaRPr>
          </a:p>
        </p:txBody>
      </p:sp>
      <p:sp>
        <p:nvSpPr>
          <p:cNvPr id="14" name="Rechteck 13">
            <a:extLst>
              <a:ext uri="{FF2B5EF4-FFF2-40B4-BE49-F238E27FC236}">
                <a16:creationId xmlns:a16="http://schemas.microsoft.com/office/drawing/2014/main" id="{6B360CA1-1A41-83D8-1E5B-BAAB2E3B0204}"/>
              </a:ext>
            </a:extLst>
          </p:cNvPr>
          <p:cNvSpPr/>
          <p:nvPr/>
        </p:nvSpPr>
        <p:spPr>
          <a:xfrm>
            <a:off x="442912" y="2849536"/>
            <a:ext cx="2698639" cy="2169887"/>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15" name="Rechteck 14">
            <a:extLst>
              <a:ext uri="{FF2B5EF4-FFF2-40B4-BE49-F238E27FC236}">
                <a16:creationId xmlns:a16="http://schemas.microsoft.com/office/drawing/2014/main" id="{3802ECD6-1D60-B28B-50D2-A325302BDB1F}"/>
              </a:ext>
            </a:extLst>
          </p:cNvPr>
          <p:cNvSpPr/>
          <p:nvPr/>
        </p:nvSpPr>
        <p:spPr>
          <a:xfrm>
            <a:off x="3312090" y="2849536"/>
            <a:ext cx="2698639" cy="2169887"/>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16" name="Rechteck 15">
            <a:extLst>
              <a:ext uri="{FF2B5EF4-FFF2-40B4-BE49-F238E27FC236}">
                <a16:creationId xmlns:a16="http://schemas.microsoft.com/office/drawing/2014/main" id="{4FDC4B67-8850-40AF-9E0F-273D917B000E}"/>
              </a:ext>
            </a:extLst>
          </p:cNvPr>
          <p:cNvSpPr/>
          <p:nvPr/>
        </p:nvSpPr>
        <p:spPr>
          <a:xfrm>
            <a:off x="6181267" y="2849536"/>
            <a:ext cx="2698639" cy="2169887"/>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17" name="Rechteck 16">
            <a:extLst>
              <a:ext uri="{FF2B5EF4-FFF2-40B4-BE49-F238E27FC236}">
                <a16:creationId xmlns:a16="http://schemas.microsoft.com/office/drawing/2014/main" id="{1720B4EF-E560-707C-D052-50C01308F65F}"/>
              </a:ext>
            </a:extLst>
          </p:cNvPr>
          <p:cNvSpPr/>
          <p:nvPr/>
        </p:nvSpPr>
        <p:spPr>
          <a:xfrm>
            <a:off x="9050449" y="2849536"/>
            <a:ext cx="2698639" cy="2169887"/>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18" name="Gleichschenkliges Dreieck 17">
            <a:extLst>
              <a:ext uri="{FF2B5EF4-FFF2-40B4-BE49-F238E27FC236}">
                <a16:creationId xmlns:a16="http://schemas.microsoft.com/office/drawing/2014/main" id="{230DF65A-181D-DC2C-6D47-6EFF28F20D59}"/>
              </a:ext>
            </a:extLst>
          </p:cNvPr>
          <p:cNvSpPr/>
          <p:nvPr/>
        </p:nvSpPr>
        <p:spPr>
          <a:xfrm rot="16200000" flipV="1">
            <a:off x="410640" y="5215467"/>
            <a:ext cx="514975" cy="432000"/>
          </a:xfrm>
          <a:prstGeom prst="triangle">
            <a:avLst/>
          </a:prstGeom>
          <a:solidFill>
            <a:schemeClr val="accent1">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4" name="Rechteck: abgerundete Ecken 3">
            <a:extLst>
              <a:ext uri="{FF2B5EF4-FFF2-40B4-BE49-F238E27FC236}">
                <a16:creationId xmlns:a16="http://schemas.microsoft.com/office/drawing/2014/main" id="{E45E7457-327E-E48B-C8AC-1C14D9A22561}"/>
              </a:ext>
            </a:extLst>
          </p:cNvPr>
          <p:cNvSpPr/>
          <p:nvPr/>
        </p:nvSpPr>
        <p:spPr>
          <a:xfrm>
            <a:off x="442909" y="1520824"/>
            <a:ext cx="11306179" cy="985420"/>
          </a:xfrm>
          <a:prstGeom prst="roundRect">
            <a:avLst>
              <a:gd name="adj" fmla="val 40061"/>
            </a:avLst>
          </a:prstGeom>
          <a:solidFill>
            <a:schemeClr val="accent1">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36000" tIns="72000" rIns="72000" bIns="72000" numCol="1" spcCol="38100" rtlCol="0" anchor="ctr">
            <a:noAutofit/>
          </a:bodyPr>
          <a:lstStyle/>
          <a:p>
            <a:pPr marR="0" algn="ctr" defTabSz="825500" rtl="0" fontAlgn="auto" latinLnBrk="0" hangingPunct="0">
              <a:lnSpc>
                <a:spcPct val="100000"/>
              </a:lnSpc>
              <a:spcBef>
                <a:spcPts val="300"/>
              </a:spcBef>
              <a:spcAft>
                <a:spcPts val="0"/>
              </a:spcAft>
              <a:buClrTx/>
              <a:buSzTx/>
              <a:tabLst/>
            </a:pPr>
            <a:r>
              <a:rPr kumimoji="0" lang="en-US" sz="1400" b="1" i="0" u="none" strike="noStrike" cap="none" spc="0" normalizeH="0" baseline="0">
                <a:ln>
                  <a:noFill/>
                </a:ln>
                <a:solidFill>
                  <a:schemeClr val="tx1"/>
                </a:solidFill>
                <a:effectLst/>
                <a:uFillTx/>
                <a:latin typeface="+mn-lt"/>
                <a:ea typeface="+mn-ea"/>
                <a:cs typeface="+mn-cs"/>
                <a:sym typeface="Helvetica Neue Medium"/>
              </a:rPr>
              <a:t>Our Purpose and Mission: </a:t>
            </a:r>
          </a:p>
          <a:p>
            <a:pPr marR="0" algn="ctr" defTabSz="825500" rtl="0" fontAlgn="auto" latinLnBrk="0" hangingPunct="0">
              <a:lnSpc>
                <a:spcPct val="100000"/>
              </a:lnSpc>
              <a:spcBef>
                <a:spcPts val="300"/>
              </a:spcBef>
              <a:spcAft>
                <a:spcPts val="0"/>
              </a:spcAft>
              <a:buClrTx/>
              <a:buSzTx/>
              <a:tabLst/>
            </a:pPr>
            <a:r>
              <a:rPr kumimoji="0" lang="en-US" sz="1400" i="0" u="none" strike="noStrike" cap="none" spc="0" normalizeH="0" baseline="0">
                <a:ln>
                  <a:noFill/>
                </a:ln>
                <a:solidFill>
                  <a:schemeClr val="tx1"/>
                </a:solidFill>
                <a:effectLst/>
                <a:uFillTx/>
                <a:latin typeface="+mn-lt"/>
                <a:ea typeface="+mn-ea"/>
                <a:cs typeface="+mn-cs"/>
                <a:sym typeface="Helvetica Neue Medium"/>
              </a:rPr>
              <a:t>We are dedicated to saving lives by revolutionizing blood-based disease diagnostics </a:t>
            </a:r>
            <a:r>
              <a:rPr lang="en-US" sz="1400">
                <a:sym typeface="Helvetica Neue Medium"/>
              </a:rPr>
              <a:t>by</a:t>
            </a:r>
            <a:r>
              <a:rPr kumimoji="0" lang="en-US" sz="1400" i="0" u="none" strike="noStrike" cap="none" spc="0" normalizeH="0" baseline="0">
                <a:ln>
                  <a:noFill/>
                </a:ln>
                <a:solidFill>
                  <a:schemeClr val="tx1"/>
                </a:solidFill>
                <a:effectLst/>
                <a:uFillTx/>
                <a:latin typeface="+mn-lt"/>
                <a:ea typeface="+mn-ea"/>
                <a:cs typeface="+mn-cs"/>
                <a:sym typeface="Helvetica Neue Medium"/>
              </a:rPr>
              <a:t> leveraging artificial intelligence. We strive to surpass </a:t>
            </a:r>
            <a:r>
              <a:rPr kumimoji="0" lang="en-US" sz="1400" i="0" u="none" strike="noStrike" cap="none" spc="0" normalizeH="0" baseline="0" err="1">
                <a:ln>
                  <a:noFill/>
                </a:ln>
                <a:solidFill>
                  <a:schemeClr val="tx1"/>
                </a:solidFill>
                <a:effectLst/>
                <a:uFillTx/>
                <a:latin typeface="+mn-lt"/>
                <a:ea typeface="+mn-ea"/>
                <a:cs typeface="+mn-cs"/>
                <a:sym typeface="Helvetica Neue Medium"/>
              </a:rPr>
              <a:t>CellVision</a:t>
            </a:r>
            <a:r>
              <a:rPr kumimoji="0" lang="en-US" sz="1400" i="0" u="none" strike="noStrike" cap="none" spc="0" normalizeH="0" baseline="0">
                <a:ln>
                  <a:noFill/>
                </a:ln>
                <a:solidFill>
                  <a:schemeClr val="tx1"/>
                </a:solidFill>
                <a:effectLst/>
                <a:uFillTx/>
                <a:latin typeface="+mn-lt"/>
                <a:ea typeface="+mn-ea"/>
                <a:cs typeface="+mn-cs"/>
                <a:sym typeface="Helvetica Neue Medium"/>
              </a:rPr>
              <a:t> Diagnostics in building the best model for blood-based disease diagnostics, ensuring our technology leads the way in reliable, efficient, and life-saving diagnostics.</a:t>
            </a:r>
            <a:endParaRPr lang="en-US" sz="1400"/>
          </a:p>
        </p:txBody>
      </p:sp>
      <p:sp>
        <p:nvSpPr>
          <p:cNvPr id="22" name="Rechteck 21">
            <a:extLst>
              <a:ext uri="{FF2B5EF4-FFF2-40B4-BE49-F238E27FC236}">
                <a16:creationId xmlns:a16="http://schemas.microsoft.com/office/drawing/2014/main" id="{31A6910E-39BD-85EF-0F84-961BDD48787F}"/>
              </a:ext>
            </a:extLst>
          </p:cNvPr>
          <p:cNvSpPr/>
          <p:nvPr/>
        </p:nvSpPr>
        <p:spPr>
          <a:xfrm>
            <a:off x="5035934" y="2505618"/>
            <a:ext cx="2290665" cy="3405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R="0" algn="ctr" defTabSz="825500" rtl="0" fontAlgn="auto" latinLnBrk="0" hangingPunct="0">
              <a:lnSpc>
                <a:spcPct val="100000"/>
              </a:lnSpc>
              <a:spcBef>
                <a:spcPts val="600"/>
              </a:spcBef>
              <a:spcAft>
                <a:spcPts val="0"/>
              </a:spcAft>
              <a:buClrTx/>
              <a:buSzTx/>
              <a:tabLst/>
            </a:pPr>
            <a:r>
              <a:rPr lang="en-US" sz="1200" b="1"/>
              <a:t>The 4 Pillars of Our Work </a:t>
            </a:r>
            <a:r>
              <a:rPr lang="en-US" sz="1200" b="1">
                <a:sym typeface="Helvetica Neue Medium"/>
              </a:rPr>
              <a:t> </a:t>
            </a:r>
            <a:endParaRPr kumimoji="0" lang="en-US" sz="1200" b="1" i="0" u="none" strike="noStrike" cap="none" spc="0" normalizeH="0" baseline="0">
              <a:ln>
                <a:noFill/>
              </a:ln>
              <a:solidFill>
                <a:schemeClr val="tx1"/>
              </a:solidFill>
              <a:effectLst/>
              <a:uFillTx/>
              <a:latin typeface="+mn-lt"/>
              <a:ea typeface="+mn-ea"/>
              <a:cs typeface="+mn-cs"/>
              <a:sym typeface="Helvetica Neue Medium"/>
            </a:endParaRPr>
          </a:p>
        </p:txBody>
      </p:sp>
      <p:pic>
        <p:nvPicPr>
          <p:cNvPr id="20" name="Grafik 19" descr="Volltreffer mit einfarbiger Füllung">
            <a:extLst>
              <a:ext uri="{FF2B5EF4-FFF2-40B4-BE49-F238E27FC236}">
                <a16:creationId xmlns:a16="http://schemas.microsoft.com/office/drawing/2014/main" id="{DDC08C14-C528-A28A-488F-C8DB73A2AF8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 y="1556334"/>
            <a:ext cx="914400" cy="914400"/>
          </a:xfrm>
          <a:prstGeom prst="rect">
            <a:avLst/>
          </a:prstGeom>
        </p:spPr>
      </p:pic>
    </p:spTree>
    <p:extLst>
      <p:ext uri="{BB962C8B-B14F-4D97-AF65-F5344CB8AC3E}">
        <p14:creationId xmlns:p14="http://schemas.microsoft.com/office/powerpoint/2010/main" val="127659681"/>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BBD94FD-B37B-9466-C761-F894B41C21C9}"/>
              </a:ext>
            </a:extLst>
          </p:cNvPr>
          <p:cNvSpPr>
            <a:spLocks noGrp="1"/>
          </p:cNvSpPr>
          <p:nvPr>
            <p:ph type="body" sz="quarter" idx="14"/>
          </p:nvPr>
        </p:nvSpPr>
        <p:spPr/>
        <p:txBody>
          <a:bodyPr lIns="91440" tIns="45720" rIns="91440" bIns="45720" anchor="t"/>
          <a:lstStyle/>
          <a:p>
            <a:r>
              <a:rPr lang="en-US"/>
              <a:t>Data at the Heart: Exploring the Blood Cell AI Dataset</a:t>
            </a:r>
          </a:p>
        </p:txBody>
      </p:sp>
      <p:sp>
        <p:nvSpPr>
          <p:cNvPr id="3" name="Textplatzhalter 2">
            <a:extLst>
              <a:ext uri="{FF2B5EF4-FFF2-40B4-BE49-F238E27FC236}">
                <a16:creationId xmlns:a16="http://schemas.microsoft.com/office/drawing/2014/main" id="{22261EF4-3FCD-4F6F-1379-F788F9D0D31B}"/>
              </a:ext>
            </a:extLst>
          </p:cNvPr>
          <p:cNvSpPr>
            <a:spLocks noGrp="1"/>
          </p:cNvSpPr>
          <p:nvPr>
            <p:ph type="body" sz="quarter" idx="15"/>
          </p:nvPr>
        </p:nvSpPr>
        <p:spPr/>
        <p:txBody>
          <a:bodyPr/>
          <a:lstStyle/>
          <a:p>
            <a:r>
              <a:rPr lang="en-US"/>
              <a:t>Our AI models are trained on a meticulously curated dataset of high-resolution blood cell images</a:t>
            </a:r>
          </a:p>
        </p:txBody>
      </p:sp>
      <p:pic>
        <p:nvPicPr>
          <p:cNvPr id="1028" name="Picture 4">
            <a:extLst>
              <a:ext uri="{FF2B5EF4-FFF2-40B4-BE49-F238E27FC236}">
                <a16:creationId xmlns:a16="http://schemas.microsoft.com/office/drawing/2014/main" id="{010AA5DD-8EC1-76E5-B2A0-8AA6F332E50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697"/>
          <a:stretch/>
        </p:blipFill>
        <p:spPr bwMode="auto">
          <a:xfrm>
            <a:off x="442913" y="3176592"/>
            <a:ext cx="8243887" cy="2584317"/>
          </a:xfrm>
          <a:prstGeom prst="rect">
            <a:avLst/>
          </a:prstGeom>
          <a:noFill/>
          <a:extLst>
            <a:ext uri="{909E8E84-426E-40DD-AFC4-6F175D3DCCD1}">
              <a14:hiddenFill xmlns:a14="http://schemas.microsoft.com/office/drawing/2010/main">
                <a:solidFill>
                  <a:srgbClr val="FFFFFF"/>
                </a:solidFill>
              </a14:hiddenFill>
            </a:ext>
          </a:extLst>
        </p:spPr>
      </p:pic>
      <p:sp>
        <p:nvSpPr>
          <p:cNvPr id="9" name="Rechteck 8">
            <a:extLst>
              <a:ext uri="{FF2B5EF4-FFF2-40B4-BE49-F238E27FC236}">
                <a16:creationId xmlns:a16="http://schemas.microsoft.com/office/drawing/2014/main" id="{234A2254-ABC4-2A49-AAA1-7B4992B592D0}"/>
              </a:ext>
            </a:extLst>
          </p:cNvPr>
          <p:cNvSpPr/>
          <p:nvPr/>
        </p:nvSpPr>
        <p:spPr>
          <a:xfrm>
            <a:off x="442914" y="1857726"/>
            <a:ext cx="2698639" cy="12057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marR="0" indent="-1714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050" b="0" i="0" u="none" strike="noStrike" cap="none" spc="0" normalizeH="0" baseline="0">
                <a:ln>
                  <a:noFill/>
                </a:ln>
                <a:solidFill>
                  <a:schemeClr val="tx1"/>
                </a:solidFill>
                <a:effectLst/>
                <a:uFillTx/>
                <a:latin typeface="+mn-lt"/>
                <a:ea typeface="+mn-ea"/>
                <a:cs typeface="+mn-cs"/>
                <a:sym typeface="Helvetica Neue Medium"/>
              </a:rPr>
              <a:t>In collaboration with renowned research hospitals, </a:t>
            </a:r>
            <a:r>
              <a:rPr kumimoji="0" lang="en-US" sz="1050" b="0" i="0" u="none" strike="noStrike" cap="none" spc="0" normalizeH="0" baseline="0" err="1">
                <a:ln>
                  <a:noFill/>
                </a:ln>
                <a:solidFill>
                  <a:schemeClr val="tx1"/>
                </a:solidFill>
                <a:effectLst/>
                <a:uFillTx/>
                <a:latin typeface="+mn-lt"/>
                <a:ea typeface="+mn-ea"/>
                <a:cs typeface="+mn-cs"/>
                <a:sym typeface="Helvetica Neue Medium"/>
              </a:rPr>
              <a:t>BloodCell</a:t>
            </a:r>
            <a:r>
              <a:rPr kumimoji="0" lang="en-US" sz="1050" b="0" i="0" u="none" strike="noStrike" cap="none" spc="0" normalizeH="0" baseline="0">
                <a:ln>
                  <a:noFill/>
                </a:ln>
                <a:solidFill>
                  <a:schemeClr val="tx1"/>
                </a:solidFill>
                <a:effectLst/>
                <a:uFillTx/>
                <a:latin typeface="+mn-lt"/>
                <a:ea typeface="+mn-ea"/>
                <a:cs typeface="+mn-cs"/>
                <a:sym typeface="Helvetica Neue Medium"/>
              </a:rPr>
              <a:t> AI acquired a diverse dataset, including augmented pictures. </a:t>
            </a:r>
          </a:p>
          <a:p>
            <a:pPr marL="171450" marR="0" indent="-1714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050" b="0" i="0" u="none" strike="noStrike" cap="none" spc="0" normalizeH="0" baseline="0">
                <a:ln>
                  <a:noFill/>
                </a:ln>
                <a:solidFill>
                  <a:schemeClr val="tx1"/>
                </a:solidFill>
                <a:effectLst/>
                <a:uFillTx/>
                <a:latin typeface="+mn-lt"/>
                <a:ea typeface="+mn-ea"/>
                <a:cs typeface="+mn-cs"/>
                <a:sym typeface="Helvetica Neue Medium"/>
              </a:rPr>
              <a:t>This dataset underwent rigorous curation processes to ensure data quality and relevance to our diagnostic goals.</a:t>
            </a:r>
          </a:p>
        </p:txBody>
      </p:sp>
      <p:sp>
        <p:nvSpPr>
          <p:cNvPr id="10" name="Rechteck 9">
            <a:extLst>
              <a:ext uri="{FF2B5EF4-FFF2-40B4-BE49-F238E27FC236}">
                <a16:creationId xmlns:a16="http://schemas.microsoft.com/office/drawing/2014/main" id="{2E74CE5F-0592-853F-9FF5-66FA060C9920}"/>
              </a:ext>
            </a:extLst>
          </p:cNvPr>
          <p:cNvSpPr/>
          <p:nvPr/>
        </p:nvSpPr>
        <p:spPr>
          <a:xfrm>
            <a:off x="442914" y="1527612"/>
            <a:ext cx="2698639" cy="324121"/>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100" b="1" i="0" u="none" strike="noStrike" cap="none" spc="0" normalizeH="0" baseline="0">
                <a:ln>
                  <a:noFill/>
                </a:ln>
                <a:solidFill>
                  <a:schemeClr val="tx1"/>
                </a:solidFill>
                <a:effectLst/>
                <a:uFillTx/>
                <a:latin typeface="+mn-lt"/>
                <a:ea typeface="+mn-ea"/>
                <a:cs typeface="+mn-cs"/>
                <a:sym typeface="Helvetica Neue Medium"/>
              </a:rPr>
              <a:t>Dataset Acquisition:</a:t>
            </a:r>
          </a:p>
        </p:txBody>
      </p:sp>
      <p:sp>
        <p:nvSpPr>
          <p:cNvPr id="11" name="Rechteck 10">
            <a:extLst>
              <a:ext uri="{FF2B5EF4-FFF2-40B4-BE49-F238E27FC236}">
                <a16:creationId xmlns:a16="http://schemas.microsoft.com/office/drawing/2014/main" id="{67DE370C-1F5D-08A0-2B14-8DCD6D866353}"/>
              </a:ext>
            </a:extLst>
          </p:cNvPr>
          <p:cNvSpPr/>
          <p:nvPr/>
        </p:nvSpPr>
        <p:spPr>
          <a:xfrm>
            <a:off x="442913" y="1520825"/>
            <a:ext cx="2698639" cy="1536700"/>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14" name="Rechteck 13">
            <a:extLst>
              <a:ext uri="{FF2B5EF4-FFF2-40B4-BE49-F238E27FC236}">
                <a16:creationId xmlns:a16="http://schemas.microsoft.com/office/drawing/2014/main" id="{4C1C65ED-D697-206B-C5A7-DBEE2DDAB355}"/>
              </a:ext>
            </a:extLst>
          </p:cNvPr>
          <p:cNvSpPr/>
          <p:nvPr/>
        </p:nvSpPr>
        <p:spPr>
          <a:xfrm>
            <a:off x="3312092" y="1857726"/>
            <a:ext cx="2698639" cy="12057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marR="0" indent="-1714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050" b="0" i="0" u="none" strike="noStrike" cap="none" spc="0" normalizeH="0" baseline="0">
                <a:ln>
                  <a:noFill/>
                </a:ln>
                <a:solidFill>
                  <a:schemeClr val="tx1"/>
                </a:solidFill>
                <a:effectLst/>
                <a:uFillTx/>
                <a:latin typeface="+mn-lt"/>
                <a:ea typeface="+mn-ea"/>
                <a:cs typeface="+mn-cs"/>
                <a:sym typeface="Helvetica Neue Medium"/>
              </a:rPr>
              <a:t>The dataset comprises a comprehensive collection of blood cell subtypes, including Eosinophils, Lymphocytes, Monocytes, and Neutrophils. </a:t>
            </a:r>
          </a:p>
          <a:p>
            <a:pPr marL="171450" marR="0" indent="-1714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050" b="0" i="0" u="none" strike="noStrike" cap="none" spc="0" normalizeH="0" baseline="0">
                <a:ln>
                  <a:noFill/>
                </a:ln>
                <a:solidFill>
                  <a:schemeClr val="tx1"/>
                </a:solidFill>
                <a:effectLst/>
                <a:uFillTx/>
                <a:latin typeface="+mn-lt"/>
                <a:ea typeface="+mn-ea"/>
                <a:cs typeface="+mn-cs"/>
                <a:sym typeface="Helvetica Neue Medium"/>
              </a:rPr>
              <a:t>These subtypes are crucial indicators for various diseases and medical conditions.</a:t>
            </a:r>
          </a:p>
        </p:txBody>
      </p:sp>
      <p:sp>
        <p:nvSpPr>
          <p:cNvPr id="15" name="Rechteck 14">
            <a:extLst>
              <a:ext uri="{FF2B5EF4-FFF2-40B4-BE49-F238E27FC236}">
                <a16:creationId xmlns:a16="http://schemas.microsoft.com/office/drawing/2014/main" id="{BC6CC111-D6AD-EFD6-7E8E-5AEAAC8F5AD8}"/>
              </a:ext>
            </a:extLst>
          </p:cNvPr>
          <p:cNvSpPr/>
          <p:nvPr/>
        </p:nvSpPr>
        <p:spPr>
          <a:xfrm>
            <a:off x="3312092" y="1527612"/>
            <a:ext cx="2698639" cy="324121"/>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100" b="1" i="0" u="none" strike="noStrike" cap="none" spc="0" normalizeH="0" baseline="0">
                <a:ln>
                  <a:noFill/>
                </a:ln>
                <a:solidFill>
                  <a:schemeClr val="tx1"/>
                </a:solidFill>
                <a:effectLst/>
                <a:uFillTx/>
                <a:latin typeface="+mn-lt"/>
                <a:ea typeface="+mn-ea"/>
                <a:cs typeface="+mn-cs"/>
                <a:sym typeface="Helvetica Neue Medium"/>
              </a:rPr>
              <a:t>Dataset Composition:</a:t>
            </a:r>
          </a:p>
        </p:txBody>
      </p:sp>
      <p:sp>
        <p:nvSpPr>
          <p:cNvPr id="16" name="Rechteck 15">
            <a:extLst>
              <a:ext uri="{FF2B5EF4-FFF2-40B4-BE49-F238E27FC236}">
                <a16:creationId xmlns:a16="http://schemas.microsoft.com/office/drawing/2014/main" id="{101A10FC-2DE6-4F99-37D7-6921396CE919}"/>
              </a:ext>
            </a:extLst>
          </p:cNvPr>
          <p:cNvSpPr/>
          <p:nvPr/>
        </p:nvSpPr>
        <p:spPr>
          <a:xfrm>
            <a:off x="3312092" y="1520825"/>
            <a:ext cx="2698639" cy="1536700"/>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18" name="Rechteck 17">
            <a:extLst>
              <a:ext uri="{FF2B5EF4-FFF2-40B4-BE49-F238E27FC236}">
                <a16:creationId xmlns:a16="http://schemas.microsoft.com/office/drawing/2014/main" id="{CD84C3DC-46B3-6C8E-AC55-FA76A140B218}"/>
              </a:ext>
            </a:extLst>
          </p:cNvPr>
          <p:cNvSpPr/>
          <p:nvPr/>
        </p:nvSpPr>
        <p:spPr>
          <a:xfrm>
            <a:off x="6181270" y="1857726"/>
            <a:ext cx="2698639" cy="12057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marR="0" indent="-1714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050" b="0" i="0" u="none" strike="noStrike" cap="none" spc="0" normalizeH="0" baseline="0">
                <a:ln>
                  <a:noFill/>
                </a:ln>
                <a:solidFill>
                  <a:schemeClr val="tx1"/>
                </a:solidFill>
                <a:effectLst/>
                <a:uFillTx/>
                <a:latin typeface="+mn-lt"/>
                <a:ea typeface="+mn-ea"/>
                <a:cs typeface="+mn-cs"/>
                <a:sym typeface="Helvetica Neue Medium"/>
              </a:rPr>
              <a:t>To maintain the robustness of our AI models, we implemented a stringent data handling protocol. </a:t>
            </a:r>
          </a:p>
          <a:p>
            <a:pPr marL="171450" marR="0" indent="-1714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050" b="0" i="0" u="none" strike="noStrike" cap="none" spc="0" normalizeH="0" baseline="0">
                <a:ln>
                  <a:noFill/>
                </a:ln>
                <a:solidFill>
                  <a:schemeClr val="tx1"/>
                </a:solidFill>
                <a:effectLst/>
                <a:uFillTx/>
                <a:latin typeface="+mn-lt"/>
                <a:ea typeface="+mn-ea"/>
                <a:cs typeface="+mn-cs"/>
                <a:sym typeface="Helvetica Neue Medium"/>
              </a:rPr>
              <a:t>The dataset is meticulously divided into distinct training, validation, and test directories.</a:t>
            </a:r>
          </a:p>
        </p:txBody>
      </p:sp>
      <p:sp>
        <p:nvSpPr>
          <p:cNvPr id="19" name="Rechteck 18">
            <a:extLst>
              <a:ext uri="{FF2B5EF4-FFF2-40B4-BE49-F238E27FC236}">
                <a16:creationId xmlns:a16="http://schemas.microsoft.com/office/drawing/2014/main" id="{9AE8E712-8181-9FA0-A2B0-51A6E7845251}"/>
              </a:ext>
            </a:extLst>
          </p:cNvPr>
          <p:cNvSpPr/>
          <p:nvPr/>
        </p:nvSpPr>
        <p:spPr>
          <a:xfrm>
            <a:off x="6181270" y="1527612"/>
            <a:ext cx="2698639" cy="324121"/>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100" b="1" i="0" u="none" strike="noStrike" cap="none" spc="0" normalizeH="0" baseline="0">
                <a:ln>
                  <a:noFill/>
                </a:ln>
                <a:solidFill>
                  <a:schemeClr val="tx1"/>
                </a:solidFill>
                <a:effectLst/>
                <a:uFillTx/>
                <a:latin typeface="+mn-lt"/>
                <a:ea typeface="+mn-ea"/>
                <a:cs typeface="+mn-cs"/>
                <a:sym typeface="Helvetica Neue Medium"/>
              </a:rPr>
              <a:t>Data Handling Protocol:</a:t>
            </a:r>
          </a:p>
        </p:txBody>
      </p:sp>
      <p:sp>
        <p:nvSpPr>
          <p:cNvPr id="20" name="Rechteck 19">
            <a:extLst>
              <a:ext uri="{FF2B5EF4-FFF2-40B4-BE49-F238E27FC236}">
                <a16:creationId xmlns:a16="http://schemas.microsoft.com/office/drawing/2014/main" id="{937A20E7-3567-0CC3-7CDF-C5E6853F5CE0}"/>
              </a:ext>
            </a:extLst>
          </p:cNvPr>
          <p:cNvSpPr/>
          <p:nvPr/>
        </p:nvSpPr>
        <p:spPr>
          <a:xfrm>
            <a:off x="6181270" y="1520825"/>
            <a:ext cx="2698639" cy="1536700"/>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22" name="Rechteck 21">
            <a:extLst>
              <a:ext uri="{FF2B5EF4-FFF2-40B4-BE49-F238E27FC236}">
                <a16:creationId xmlns:a16="http://schemas.microsoft.com/office/drawing/2014/main" id="{5627AED8-8AAE-6705-BD2F-4E02E9DBE59E}"/>
              </a:ext>
            </a:extLst>
          </p:cNvPr>
          <p:cNvSpPr/>
          <p:nvPr/>
        </p:nvSpPr>
        <p:spPr>
          <a:xfrm>
            <a:off x="9050447" y="1857726"/>
            <a:ext cx="2698639" cy="12057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marR="0" indent="-1714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050" b="0" i="0" u="none" strike="noStrike" cap="none" spc="0" normalizeH="0" baseline="0">
                <a:ln>
                  <a:noFill/>
                </a:ln>
                <a:solidFill>
                  <a:schemeClr val="tx1"/>
                </a:solidFill>
                <a:effectLst/>
                <a:uFillTx/>
                <a:latin typeface="+mn-lt"/>
                <a:ea typeface="+mn-ea"/>
                <a:cs typeface="+mn-cs"/>
                <a:sym typeface="Helvetica Neue Medium"/>
              </a:rPr>
              <a:t>Data is further split into training and validation subsets. </a:t>
            </a:r>
          </a:p>
          <a:p>
            <a:pPr marL="171450" marR="0" indent="-171450" defTabSz="8255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050" b="0" i="0" u="none" strike="noStrike" cap="none" spc="0" normalizeH="0" baseline="0">
                <a:ln>
                  <a:noFill/>
                </a:ln>
                <a:solidFill>
                  <a:schemeClr val="tx1"/>
                </a:solidFill>
                <a:effectLst/>
                <a:uFillTx/>
                <a:latin typeface="+mn-lt"/>
                <a:ea typeface="+mn-ea"/>
                <a:cs typeface="+mn-cs"/>
                <a:sym typeface="Helvetica Neue Medium"/>
              </a:rPr>
              <a:t>The training subset enables comprehensive model learning, while the validation subset facilitates parameter optimization without compromising generalization.</a:t>
            </a:r>
          </a:p>
        </p:txBody>
      </p:sp>
      <p:sp>
        <p:nvSpPr>
          <p:cNvPr id="23" name="Rechteck 22">
            <a:extLst>
              <a:ext uri="{FF2B5EF4-FFF2-40B4-BE49-F238E27FC236}">
                <a16:creationId xmlns:a16="http://schemas.microsoft.com/office/drawing/2014/main" id="{FD9DD3BC-6D8D-FFC8-72D9-62DB67EB6CCB}"/>
              </a:ext>
            </a:extLst>
          </p:cNvPr>
          <p:cNvSpPr/>
          <p:nvPr/>
        </p:nvSpPr>
        <p:spPr>
          <a:xfrm>
            <a:off x="9050447" y="1527612"/>
            <a:ext cx="2698639" cy="324121"/>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100" b="1" i="0" u="none" strike="noStrike" cap="none" spc="0" normalizeH="0" baseline="0">
                <a:ln>
                  <a:noFill/>
                </a:ln>
                <a:solidFill>
                  <a:schemeClr val="tx1"/>
                </a:solidFill>
                <a:effectLst/>
                <a:uFillTx/>
                <a:latin typeface="+mn-lt"/>
                <a:ea typeface="+mn-ea"/>
                <a:cs typeface="+mn-cs"/>
                <a:sym typeface="Helvetica Neue Medium"/>
              </a:rPr>
              <a:t>Training and Validation:</a:t>
            </a:r>
          </a:p>
        </p:txBody>
      </p:sp>
      <p:sp>
        <p:nvSpPr>
          <p:cNvPr id="24" name="Rechteck 23">
            <a:extLst>
              <a:ext uri="{FF2B5EF4-FFF2-40B4-BE49-F238E27FC236}">
                <a16:creationId xmlns:a16="http://schemas.microsoft.com/office/drawing/2014/main" id="{F9FB5D8D-D4FB-E9C7-D199-AE62B20FA35E}"/>
              </a:ext>
            </a:extLst>
          </p:cNvPr>
          <p:cNvSpPr/>
          <p:nvPr/>
        </p:nvSpPr>
        <p:spPr>
          <a:xfrm>
            <a:off x="9050446" y="1520825"/>
            <a:ext cx="2698639" cy="1536700"/>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30" name="Rechteck: abgerundete Ecken 29">
            <a:extLst>
              <a:ext uri="{FF2B5EF4-FFF2-40B4-BE49-F238E27FC236}">
                <a16:creationId xmlns:a16="http://schemas.microsoft.com/office/drawing/2014/main" id="{7CD95045-0F00-EC62-5B76-03CB5E7C5428}"/>
              </a:ext>
            </a:extLst>
          </p:cNvPr>
          <p:cNvSpPr/>
          <p:nvPr/>
        </p:nvSpPr>
        <p:spPr>
          <a:xfrm>
            <a:off x="9297909" y="3429000"/>
            <a:ext cx="2451179" cy="2268538"/>
          </a:xfrm>
          <a:prstGeom prst="roundRect">
            <a:avLst/>
          </a:prstGeom>
          <a:solidFill>
            <a:schemeClr val="accent1">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R="0" algn="ctr" defTabSz="825500" rtl="0" fontAlgn="auto" latinLnBrk="0" hangingPunct="0">
              <a:lnSpc>
                <a:spcPct val="100000"/>
              </a:lnSpc>
              <a:spcBef>
                <a:spcPts val="600"/>
              </a:spcBef>
              <a:spcAft>
                <a:spcPts val="0"/>
              </a:spcAft>
              <a:buClrTx/>
              <a:buSzTx/>
              <a:tabLst/>
            </a:pPr>
            <a:r>
              <a:rPr kumimoji="0" lang="en-US" sz="1200" b="1" i="0" u="none" strike="noStrike" cap="none" spc="0" normalizeH="0" baseline="0">
                <a:ln>
                  <a:noFill/>
                </a:ln>
                <a:solidFill>
                  <a:schemeClr val="tx1"/>
                </a:solidFill>
                <a:effectLst/>
                <a:uFillTx/>
                <a:latin typeface="+mn-lt"/>
                <a:ea typeface="+mn-ea"/>
                <a:cs typeface="+mn-cs"/>
                <a:sym typeface="Helvetica Neue Medium"/>
              </a:rPr>
              <a:t>Conclusion</a:t>
            </a:r>
          </a:p>
          <a:p>
            <a:pPr marL="171450" marR="0" indent="-171450" algn="just" defTabSz="825500" rtl="0" fontAlgn="auto" latinLnBrk="0" hangingPunct="0">
              <a:lnSpc>
                <a:spcPct val="100000"/>
              </a:lnSpc>
              <a:spcBef>
                <a:spcPts val="600"/>
              </a:spcBef>
              <a:spcAft>
                <a:spcPts val="0"/>
              </a:spcAft>
              <a:buClrTx/>
              <a:buSzTx/>
              <a:buFont typeface="Arial" panose="020B0604020202020204" pitchFamily="34" charset="0"/>
              <a:buChar char="•"/>
              <a:tabLst/>
            </a:pPr>
            <a:r>
              <a:rPr kumimoji="0" lang="en-US" sz="1050" b="0" i="0" u="none" strike="noStrike" cap="none" spc="0" normalizeH="0" baseline="0">
                <a:ln>
                  <a:noFill/>
                </a:ln>
                <a:solidFill>
                  <a:schemeClr val="tx1"/>
                </a:solidFill>
                <a:effectLst/>
                <a:uFillTx/>
                <a:latin typeface="+mn-lt"/>
                <a:ea typeface="+mn-ea"/>
                <a:cs typeface="+mn-cs"/>
                <a:sym typeface="Helvetica Neue Medium"/>
              </a:rPr>
              <a:t>The </a:t>
            </a:r>
            <a:r>
              <a:rPr kumimoji="0" lang="en-US" sz="1050" b="1" i="0" u="none" strike="noStrike" cap="none" spc="0" normalizeH="0" baseline="0">
                <a:ln>
                  <a:noFill/>
                </a:ln>
                <a:solidFill>
                  <a:schemeClr val="tx1"/>
                </a:solidFill>
                <a:effectLst/>
                <a:uFillTx/>
                <a:latin typeface="+mn-lt"/>
                <a:ea typeface="+mn-ea"/>
                <a:cs typeface="+mn-cs"/>
                <a:sym typeface="Helvetica Neue Medium"/>
              </a:rPr>
              <a:t>quality and composition </a:t>
            </a:r>
            <a:r>
              <a:rPr kumimoji="0" lang="en-US" sz="1050" b="0" i="0" u="none" strike="noStrike" cap="none" spc="0" normalizeH="0" baseline="0">
                <a:ln>
                  <a:noFill/>
                </a:ln>
                <a:solidFill>
                  <a:schemeClr val="tx1"/>
                </a:solidFill>
                <a:effectLst/>
                <a:uFillTx/>
                <a:latin typeface="+mn-lt"/>
                <a:ea typeface="+mn-ea"/>
                <a:cs typeface="+mn-cs"/>
                <a:sym typeface="Helvetica Neue Medium"/>
              </a:rPr>
              <a:t>of our dataset are integral to </a:t>
            </a:r>
            <a:r>
              <a:rPr kumimoji="0" lang="en-US" sz="1050" b="0" i="0" u="none" strike="noStrike" cap="none" spc="0" normalizeH="0" baseline="0" err="1">
                <a:ln>
                  <a:noFill/>
                </a:ln>
                <a:solidFill>
                  <a:schemeClr val="tx1"/>
                </a:solidFill>
                <a:effectLst/>
                <a:uFillTx/>
                <a:latin typeface="+mn-lt"/>
                <a:ea typeface="+mn-ea"/>
                <a:cs typeface="+mn-cs"/>
                <a:sym typeface="Helvetica Neue Medium"/>
              </a:rPr>
              <a:t>BloodCell</a:t>
            </a:r>
            <a:r>
              <a:rPr kumimoji="0" lang="en-US" sz="1050" b="0" i="0" u="none" strike="noStrike" cap="none" spc="0" normalizeH="0" baseline="0">
                <a:ln>
                  <a:noFill/>
                </a:ln>
                <a:solidFill>
                  <a:schemeClr val="tx1"/>
                </a:solidFill>
                <a:effectLst/>
                <a:uFillTx/>
                <a:latin typeface="+mn-lt"/>
                <a:ea typeface="+mn-ea"/>
                <a:cs typeface="+mn-cs"/>
                <a:sym typeface="Helvetica Neue Medium"/>
              </a:rPr>
              <a:t> AI's mission of transforming healthcare diagnostics.</a:t>
            </a:r>
          </a:p>
          <a:p>
            <a:pPr marL="171450" marR="0" indent="-171450" algn="just" defTabSz="825500" rtl="0" fontAlgn="auto" latinLnBrk="0" hangingPunct="0">
              <a:lnSpc>
                <a:spcPct val="100000"/>
              </a:lnSpc>
              <a:spcBef>
                <a:spcPts val="600"/>
              </a:spcBef>
              <a:spcAft>
                <a:spcPts val="0"/>
              </a:spcAft>
              <a:buClrTx/>
              <a:buSzTx/>
              <a:buFont typeface="Arial" panose="020B0604020202020204" pitchFamily="34" charset="0"/>
              <a:buChar char="•"/>
              <a:tabLst/>
            </a:pPr>
            <a:r>
              <a:rPr kumimoji="0" lang="en-US" sz="1050" b="0" i="0" u="none" strike="noStrike" cap="none" spc="0" normalizeH="0" baseline="0">
                <a:ln>
                  <a:noFill/>
                </a:ln>
                <a:solidFill>
                  <a:schemeClr val="tx1"/>
                </a:solidFill>
                <a:effectLst/>
                <a:uFillTx/>
                <a:latin typeface="+mn-lt"/>
                <a:ea typeface="+mn-ea"/>
                <a:cs typeface="+mn-cs"/>
                <a:sym typeface="Helvetica Neue Medium"/>
              </a:rPr>
              <a:t>By </a:t>
            </a:r>
            <a:r>
              <a:rPr kumimoji="0" lang="en-US" sz="1050" b="1" i="0" u="none" strike="noStrike" cap="none" spc="0" normalizeH="0" baseline="0">
                <a:ln>
                  <a:noFill/>
                </a:ln>
                <a:solidFill>
                  <a:schemeClr val="tx1"/>
                </a:solidFill>
                <a:effectLst/>
                <a:uFillTx/>
                <a:latin typeface="+mn-lt"/>
                <a:ea typeface="+mn-ea"/>
                <a:cs typeface="+mn-cs"/>
                <a:sym typeface="Helvetica Neue Medium"/>
              </a:rPr>
              <a:t>leveraging this diverse and meticulously curated dataset</a:t>
            </a:r>
            <a:r>
              <a:rPr kumimoji="0" lang="en-US" sz="1050" b="0" i="0" u="none" strike="noStrike" cap="none" spc="0" normalizeH="0" baseline="0">
                <a:ln>
                  <a:noFill/>
                </a:ln>
                <a:solidFill>
                  <a:schemeClr val="tx1"/>
                </a:solidFill>
                <a:effectLst/>
                <a:uFillTx/>
                <a:latin typeface="+mn-lt"/>
                <a:ea typeface="+mn-ea"/>
                <a:cs typeface="+mn-cs"/>
                <a:sym typeface="Helvetica Neue Medium"/>
              </a:rPr>
              <a:t>, we ensure that each analysis is precise, dependable, and contributes to superior patient care.</a:t>
            </a:r>
          </a:p>
        </p:txBody>
      </p:sp>
      <p:sp>
        <p:nvSpPr>
          <p:cNvPr id="31" name="Pfeil: Chevron 30">
            <a:extLst>
              <a:ext uri="{FF2B5EF4-FFF2-40B4-BE49-F238E27FC236}">
                <a16:creationId xmlns:a16="http://schemas.microsoft.com/office/drawing/2014/main" id="{E0B5F460-27BD-F373-97FF-4E4E46B9E86F}"/>
              </a:ext>
            </a:extLst>
          </p:cNvPr>
          <p:cNvSpPr/>
          <p:nvPr/>
        </p:nvSpPr>
        <p:spPr>
          <a:xfrm>
            <a:off x="8830187" y="3875055"/>
            <a:ext cx="324334" cy="1376428"/>
          </a:xfrm>
          <a:prstGeom prst="chevron">
            <a:avLst>
              <a:gd name="adj" fmla="val 86976"/>
            </a:avLst>
          </a:prstGeom>
          <a:solidFill>
            <a:schemeClr val="accent1">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Tree>
    <p:extLst>
      <p:ext uri="{BB962C8B-B14F-4D97-AF65-F5344CB8AC3E}">
        <p14:creationId xmlns:p14="http://schemas.microsoft.com/office/powerpoint/2010/main" val="196803858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7857DC1-B240-2014-FF35-005F90715DFD}"/>
              </a:ext>
            </a:extLst>
          </p:cNvPr>
          <p:cNvSpPr>
            <a:spLocks noGrp="1"/>
          </p:cNvSpPr>
          <p:nvPr>
            <p:ph type="body" sz="quarter" idx="14"/>
          </p:nvPr>
        </p:nvSpPr>
        <p:spPr>
          <a:xfrm>
            <a:off x="452796" y="678255"/>
            <a:ext cx="11587860" cy="389725"/>
          </a:xfrm>
        </p:spPr>
        <p:txBody>
          <a:bodyPr lIns="91440" tIns="45720" rIns="91440" bIns="45720" anchor="t"/>
          <a:lstStyle/>
          <a:p>
            <a:r>
              <a:rPr lang="en-US"/>
              <a:t>Data at the Heart: Understanding Benefits of Recognizing &amp; Classifying</a:t>
            </a:r>
          </a:p>
        </p:txBody>
      </p:sp>
      <p:sp>
        <p:nvSpPr>
          <p:cNvPr id="3" name="Textplatzhalter 2">
            <a:extLst>
              <a:ext uri="{FF2B5EF4-FFF2-40B4-BE49-F238E27FC236}">
                <a16:creationId xmlns:a16="http://schemas.microsoft.com/office/drawing/2014/main" id="{281105C5-44E1-6128-D52F-2586EB705ADC}"/>
              </a:ext>
            </a:extLst>
          </p:cNvPr>
          <p:cNvSpPr>
            <a:spLocks noGrp="1"/>
          </p:cNvSpPr>
          <p:nvPr>
            <p:ph type="body" sz="quarter" idx="15"/>
          </p:nvPr>
        </p:nvSpPr>
        <p:spPr/>
        <p:txBody>
          <a:bodyPr lIns="91440" tIns="45720" rIns="91440" bIns="45720" anchor="t"/>
          <a:lstStyle/>
          <a:p>
            <a:r>
              <a:rPr lang="en-US">
                <a:ea typeface="+mj-lt"/>
                <a:cs typeface="+mj-lt"/>
              </a:rPr>
              <a:t>Early</a:t>
            </a:r>
            <a:r>
              <a:rPr lang="en-US"/>
              <a:t> detection leads to timely diagnosis and treatment, treatment monitoring tracks effectiveness, patient management improves care based on cell changes, and risk assessment evaluates infection and complication risks.</a:t>
            </a:r>
          </a:p>
        </p:txBody>
      </p:sp>
      <p:sp>
        <p:nvSpPr>
          <p:cNvPr id="9" name="Rechteck 8">
            <a:extLst>
              <a:ext uri="{FF2B5EF4-FFF2-40B4-BE49-F238E27FC236}">
                <a16:creationId xmlns:a16="http://schemas.microsoft.com/office/drawing/2014/main" id="{F6BC87A6-ABCE-729D-2F20-2100937416B9}"/>
              </a:ext>
            </a:extLst>
          </p:cNvPr>
          <p:cNvSpPr/>
          <p:nvPr/>
        </p:nvSpPr>
        <p:spPr>
          <a:xfrm>
            <a:off x="442914" y="2108935"/>
            <a:ext cx="2698639" cy="12057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indent="-171450" defTabSz="825500">
              <a:buFont typeface="Arial" panose="020B0604020202020204" pitchFamily="34" charset="0"/>
              <a:buChar char="•"/>
            </a:pPr>
            <a:r>
              <a:rPr lang="en-US" sz="1100">
                <a:sym typeface="Helvetica Neue Medium"/>
              </a:rPr>
              <a:t>Allergic Reactions: Indicates asthma, eczema, hay fever.</a:t>
            </a:r>
            <a:endParaRPr lang="en-US" sz="1100"/>
          </a:p>
          <a:p>
            <a:pPr marL="171450" indent="-171450" defTabSz="825500">
              <a:buFont typeface="Arial" panose="020B0604020202020204" pitchFamily="34" charset="0"/>
              <a:buChar char="•"/>
            </a:pPr>
            <a:r>
              <a:rPr lang="en-US" sz="1100">
                <a:sym typeface="Helvetica Neue Medium"/>
              </a:rPr>
              <a:t>Parasitic Infections: Points to parasitic infections.</a:t>
            </a:r>
            <a:endParaRPr lang="en-US" sz="1100"/>
          </a:p>
          <a:p>
            <a:pPr marL="171450" indent="-171450" defTabSz="825500">
              <a:buFont typeface="Arial" panose="020B0604020202020204" pitchFamily="34" charset="0"/>
              <a:buChar char="•"/>
            </a:pPr>
            <a:r>
              <a:rPr lang="en-US" sz="1100">
                <a:sym typeface="Helvetica Neue Medium"/>
              </a:rPr>
              <a:t>Autoimmune Disorders: Signals conditions like eosinophilic esophagitis.</a:t>
            </a:r>
          </a:p>
        </p:txBody>
      </p:sp>
      <p:sp>
        <p:nvSpPr>
          <p:cNvPr id="11" name="Rechteck 9">
            <a:extLst>
              <a:ext uri="{FF2B5EF4-FFF2-40B4-BE49-F238E27FC236}">
                <a16:creationId xmlns:a16="http://schemas.microsoft.com/office/drawing/2014/main" id="{8998413E-21C2-E221-2254-8DC0AF18FCFB}"/>
              </a:ext>
            </a:extLst>
          </p:cNvPr>
          <p:cNvSpPr/>
          <p:nvPr/>
        </p:nvSpPr>
        <p:spPr>
          <a:xfrm>
            <a:off x="442914" y="1778821"/>
            <a:ext cx="2698639" cy="324121"/>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a:lnSpc>
                <a:spcPct val="100000"/>
              </a:lnSpc>
              <a:spcBef>
                <a:spcPts val="0"/>
              </a:spcBef>
              <a:spcAft>
                <a:spcPts val="0"/>
              </a:spcAft>
              <a:buNone/>
              <a:tabLst/>
            </a:pPr>
            <a:r>
              <a:rPr lang="en-US" sz="1200" b="1">
                <a:ea typeface="+mn-lt"/>
                <a:cs typeface="+mn-lt"/>
              </a:rPr>
              <a:t>Eosinophils</a:t>
            </a:r>
            <a:endParaRPr lang="en-US" sz="2000" b="1">
              <a:ea typeface="+mn-lt"/>
              <a:cs typeface="+mn-lt"/>
            </a:endParaRPr>
          </a:p>
        </p:txBody>
      </p:sp>
      <p:sp>
        <p:nvSpPr>
          <p:cNvPr id="13" name="Rechteck 13">
            <a:extLst>
              <a:ext uri="{FF2B5EF4-FFF2-40B4-BE49-F238E27FC236}">
                <a16:creationId xmlns:a16="http://schemas.microsoft.com/office/drawing/2014/main" id="{35A134DE-CDE6-F7A6-EFF7-3C0FB22BA1E2}"/>
              </a:ext>
            </a:extLst>
          </p:cNvPr>
          <p:cNvSpPr/>
          <p:nvPr/>
        </p:nvSpPr>
        <p:spPr>
          <a:xfrm>
            <a:off x="3312092" y="2108935"/>
            <a:ext cx="2698639" cy="12057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indent="-171450" defTabSz="825500">
              <a:buFont typeface="Arial" panose="020B0604020202020204" pitchFamily="34" charset="0"/>
              <a:buChar char="•"/>
            </a:pPr>
            <a:r>
              <a:rPr lang="en-US" sz="1100"/>
              <a:t>Viral Infections: Sign of viral infections (e.g., mono, hepatitis).</a:t>
            </a:r>
          </a:p>
          <a:p>
            <a:pPr marL="171450" indent="-171450" defTabSz="825500">
              <a:buFont typeface="Arial" panose="020B0604020202020204" pitchFamily="34" charset="0"/>
              <a:buChar char="•"/>
            </a:pPr>
            <a:r>
              <a:rPr lang="en-US" sz="1100"/>
              <a:t>Chronic Inflammatory Conditions: Indicates diseases like rheumatoid arthritis.</a:t>
            </a:r>
          </a:p>
          <a:p>
            <a:pPr marL="171450" indent="-171450" defTabSz="825500">
              <a:buFont typeface="Arial" panose="020B0604020202020204" pitchFamily="34" charset="0"/>
              <a:buChar char="•"/>
            </a:pPr>
            <a:r>
              <a:rPr lang="en-US" sz="1100"/>
              <a:t>Immune Response: Assesses immune system status, especially in HIV/AIDS.</a:t>
            </a:r>
          </a:p>
        </p:txBody>
      </p:sp>
      <p:sp>
        <p:nvSpPr>
          <p:cNvPr id="15" name="Rechteck 14">
            <a:extLst>
              <a:ext uri="{FF2B5EF4-FFF2-40B4-BE49-F238E27FC236}">
                <a16:creationId xmlns:a16="http://schemas.microsoft.com/office/drawing/2014/main" id="{8C55EFBB-3CB2-0B69-E946-D76F79DE3C6A}"/>
              </a:ext>
            </a:extLst>
          </p:cNvPr>
          <p:cNvSpPr/>
          <p:nvPr/>
        </p:nvSpPr>
        <p:spPr>
          <a:xfrm>
            <a:off x="3312092" y="1778821"/>
            <a:ext cx="2698639" cy="324121"/>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algn="ctr" defTabSz="825500"/>
            <a:r>
              <a:rPr lang="en-US" sz="1200" b="1">
                <a:ea typeface="+mn-lt"/>
                <a:cs typeface="+mn-lt"/>
                <a:sym typeface="Helvetica Neue Medium"/>
              </a:rPr>
              <a:t>Lymphocytes</a:t>
            </a:r>
            <a:endParaRPr lang="en-US" sz="2000" b="1"/>
          </a:p>
        </p:txBody>
      </p:sp>
      <p:sp>
        <p:nvSpPr>
          <p:cNvPr id="17" name="Rechteck 17">
            <a:extLst>
              <a:ext uri="{FF2B5EF4-FFF2-40B4-BE49-F238E27FC236}">
                <a16:creationId xmlns:a16="http://schemas.microsoft.com/office/drawing/2014/main" id="{B950E7AB-3B1E-6475-51E8-B45D85DC8D1D}"/>
              </a:ext>
            </a:extLst>
          </p:cNvPr>
          <p:cNvSpPr/>
          <p:nvPr/>
        </p:nvSpPr>
        <p:spPr>
          <a:xfrm>
            <a:off x="6181270" y="2108935"/>
            <a:ext cx="2698639" cy="12057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indent="-171450" defTabSz="825500">
              <a:buFont typeface="Arial" panose="020B0604020202020204" pitchFamily="34" charset="0"/>
              <a:buChar char="•"/>
            </a:pPr>
            <a:r>
              <a:rPr lang="en-US" sz="1100">
                <a:ea typeface="+mn-lt"/>
                <a:cs typeface="+mn-lt"/>
                <a:sym typeface="Helvetica Neue Medium"/>
              </a:rPr>
              <a:t>C</a:t>
            </a:r>
            <a:r>
              <a:rPr lang="en-US" sz="1100">
                <a:sym typeface="Helvetica Neue Medium"/>
              </a:rPr>
              <a:t>hronic Infections: Indicates chronic infections (e.g., tuberculosis).</a:t>
            </a:r>
          </a:p>
          <a:p>
            <a:pPr marL="171450" indent="-171450" defTabSz="825500">
              <a:buFont typeface="Arial" panose="020B0604020202020204" pitchFamily="34" charset="0"/>
              <a:buChar char="•"/>
            </a:pPr>
            <a:r>
              <a:rPr lang="en-US" sz="1100">
                <a:sym typeface="Helvetica Neue Medium"/>
              </a:rPr>
              <a:t>Inflammatory Conditions: Associated with inflammatory diseases.</a:t>
            </a:r>
            <a:endParaRPr lang="en-US" sz="1100"/>
          </a:p>
          <a:p>
            <a:pPr marL="171450" indent="-171450" defTabSz="825500">
              <a:buFont typeface="Arial" panose="020B0604020202020204" pitchFamily="34" charset="0"/>
              <a:buChar char="•"/>
            </a:pPr>
            <a:r>
              <a:rPr lang="en-US" sz="1100">
                <a:sym typeface="Helvetica Neue Medium"/>
              </a:rPr>
              <a:t>Cancer Detection: Linked to leukemia and lymphoma.</a:t>
            </a:r>
            <a:endParaRPr lang="en-US" sz="1100"/>
          </a:p>
        </p:txBody>
      </p:sp>
      <p:sp>
        <p:nvSpPr>
          <p:cNvPr id="19" name="Rechteck 18">
            <a:extLst>
              <a:ext uri="{FF2B5EF4-FFF2-40B4-BE49-F238E27FC236}">
                <a16:creationId xmlns:a16="http://schemas.microsoft.com/office/drawing/2014/main" id="{F78655C6-7371-DF20-5DFF-C877DAB21A87}"/>
              </a:ext>
            </a:extLst>
          </p:cNvPr>
          <p:cNvSpPr/>
          <p:nvPr/>
        </p:nvSpPr>
        <p:spPr>
          <a:xfrm>
            <a:off x="6181270" y="1778821"/>
            <a:ext cx="2698639" cy="324121"/>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algn="ctr" defTabSz="825500"/>
            <a:r>
              <a:rPr lang="en-US" sz="1200" b="1">
                <a:ea typeface="+mn-lt"/>
                <a:cs typeface="+mn-lt"/>
                <a:sym typeface="Helvetica Neue Medium"/>
              </a:rPr>
              <a:t>Monocytes</a:t>
            </a:r>
            <a:endParaRPr lang="en-US" sz="1200" b="1">
              <a:ea typeface="+mn-lt"/>
              <a:cs typeface="+mn-lt"/>
            </a:endParaRPr>
          </a:p>
        </p:txBody>
      </p:sp>
      <p:sp>
        <p:nvSpPr>
          <p:cNvPr id="21" name="Rechteck 21">
            <a:extLst>
              <a:ext uri="{FF2B5EF4-FFF2-40B4-BE49-F238E27FC236}">
                <a16:creationId xmlns:a16="http://schemas.microsoft.com/office/drawing/2014/main" id="{B840AEA6-8BC2-12B2-BFEB-A36227DDB173}"/>
              </a:ext>
            </a:extLst>
          </p:cNvPr>
          <p:cNvSpPr/>
          <p:nvPr/>
        </p:nvSpPr>
        <p:spPr>
          <a:xfrm>
            <a:off x="9050447" y="2108935"/>
            <a:ext cx="2698639" cy="12057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t">
            <a:noAutofit/>
          </a:bodyPr>
          <a:lstStyle/>
          <a:p>
            <a:pPr marL="171450" indent="-171450" defTabSz="825500">
              <a:buFont typeface="Arial" panose="020B0604020202020204" pitchFamily="34" charset="0"/>
              <a:buChar char="•"/>
            </a:pPr>
            <a:r>
              <a:rPr lang="en-US" sz="1100">
                <a:sym typeface="Helvetica Neue Medium"/>
              </a:rPr>
              <a:t>Bacterial Infections: Suggests bacterial infections (e.g., pneumonia).</a:t>
            </a:r>
          </a:p>
          <a:p>
            <a:pPr marL="171450" indent="-171450" defTabSz="825500">
              <a:buFont typeface="Arial" panose="020B0604020202020204" pitchFamily="34" charset="0"/>
              <a:buChar char="•"/>
            </a:pPr>
            <a:r>
              <a:rPr lang="en-US" sz="1100">
                <a:sym typeface="Helvetica Neue Medium"/>
              </a:rPr>
              <a:t>Acute Inflammation: Marker for acute inflammation (e.g., heart attack).</a:t>
            </a:r>
            <a:endParaRPr lang="en-US" sz="1100"/>
          </a:p>
          <a:p>
            <a:pPr marL="171450" indent="-171450" defTabSz="825500">
              <a:buFont typeface="Arial" panose="020B0604020202020204" pitchFamily="34" charset="0"/>
              <a:buChar char="•"/>
            </a:pPr>
            <a:r>
              <a:rPr lang="en-US" sz="1100">
                <a:sym typeface="Helvetica Neue Medium"/>
              </a:rPr>
              <a:t>Neutropenia: Low counts indicate bone marrow issues or chemotherap</a:t>
            </a:r>
            <a:r>
              <a:rPr lang="en-US" sz="1100">
                <a:ea typeface="+mn-lt"/>
                <a:cs typeface="+mn-lt"/>
                <a:sym typeface="Helvetica Neue Medium"/>
              </a:rPr>
              <a:t>y effects</a:t>
            </a:r>
            <a:r>
              <a:rPr kumimoji="0" lang="en-US" sz="1100" b="0" i="0" u="none" strike="noStrike" cap="none" spc="0" normalizeH="0" baseline="0">
                <a:ln>
                  <a:noFill/>
                </a:ln>
                <a:effectLst/>
                <a:uFillTx/>
                <a:ea typeface="+mn-lt"/>
                <a:cs typeface="+mn-lt"/>
                <a:sym typeface="Helvetica Neue Medium"/>
              </a:rPr>
              <a:t>.</a:t>
            </a:r>
            <a:endParaRPr lang="en-US" sz="2000">
              <a:ea typeface="+mn-lt"/>
              <a:cs typeface="+mn-lt"/>
              <a:sym typeface="Helvetica Neue Medium"/>
            </a:endParaRPr>
          </a:p>
          <a:p>
            <a:pPr marL="171450" marR="0" indent="-171450" defTabSz="825500">
              <a:lnSpc>
                <a:spcPct val="100000"/>
              </a:lnSpc>
              <a:spcBef>
                <a:spcPts val="0"/>
              </a:spcBef>
              <a:spcAft>
                <a:spcPts val="0"/>
              </a:spcAft>
              <a:buClrTx/>
              <a:buSzTx/>
              <a:buFont typeface="Arial" panose="020B0604020202020204" pitchFamily="34" charset="0"/>
              <a:buChar char="•"/>
              <a:tabLst/>
            </a:pPr>
            <a:endParaRPr lang="en-US" sz="1100" b="0" i="0" u="none" strike="noStrike" cap="none" spc="0" normalizeH="0" baseline="0">
              <a:ln>
                <a:noFill/>
              </a:ln>
              <a:effectLst/>
              <a:uFillTx/>
              <a:latin typeface="+mn-lt"/>
              <a:ea typeface="+mn-ea"/>
              <a:cs typeface="+mn-cs"/>
            </a:endParaRPr>
          </a:p>
        </p:txBody>
      </p:sp>
      <p:sp>
        <p:nvSpPr>
          <p:cNvPr id="23" name="Rechteck 22">
            <a:extLst>
              <a:ext uri="{FF2B5EF4-FFF2-40B4-BE49-F238E27FC236}">
                <a16:creationId xmlns:a16="http://schemas.microsoft.com/office/drawing/2014/main" id="{BDFEE9C9-C5AB-DF0C-D078-0E4424D3F1A9}"/>
              </a:ext>
            </a:extLst>
          </p:cNvPr>
          <p:cNvSpPr/>
          <p:nvPr/>
        </p:nvSpPr>
        <p:spPr>
          <a:xfrm>
            <a:off x="9050447" y="1778821"/>
            <a:ext cx="2698639" cy="324121"/>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algn="ctr" defTabSz="825500"/>
            <a:r>
              <a:rPr lang="en-US" sz="1200" b="1">
                <a:ea typeface="+mn-lt"/>
                <a:cs typeface="+mn-lt"/>
                <a:sym typeface="Helvetica Neue Medium"/>
              </a:rPr>
              <a:t>Neutrophils</a:t>
            </a:r>
          </a:p>
        </p:txBody>
      </p:sp>
      <p:pic>
        <p:nvPicPr>
          <p:cNvPr id="18" name="Picture 17" descr="A close-up of a blue and purple cell&#10;&#10;Description automatically generated">
            <a:extLst>
              <a:ext uri="{FF2B5EF4-FFF2-40B4-BE49-F238E27FC236}">
                <a16:creationId xmlns:a16="http://schemas.microsoft.com/office/drawing/2014/main" id="{50E8D432-F503-B872-AFA2-F9333450859C}"/>
              </a:ext>
            </a:extLst>
          </p:cNvPr>
          <p:cNvPicPr>
            <a:picLocks noChangeAspect="1"/>
          </p:cNvPicPr>
          <p:nvPr/>
        </p:nvPicPr>
        <p:blipFill>
          <a:blip r:embed="rId2"/>
          <a:stretch>
            <a:fillRect/>
          </a:stretch>
        </p:blipFill>
        <p:spPr>
          <a:xfrm>
            <a:off x="6326141" y="3850836"/>
            <a:ext cx="2407553" cy="1800000"/>
          </a:xfrm>
          <a:prstGeom prst="rect">
            <a:avLst/>
          </a:prstGeom>
          <a:ln w="12700">
            <a:solidFill>
              <a:schemeClr val="tx1"/>
            </a:solidFill>
          </a:ln>
        </p:spPr>
      </p:pic>
      <p:pic>
        <p:nvPicPr>
          <p:cNvPr id="20" name="Picture 19" descr="A blue and purple cell&#10;&#10;Description automatically generated">
            <a:extLst>
              <a:ext uri="{FF2B5EF4-FFF2-40B4-BE49-F238E27FC236}">
                <a16:creationId xmlns:a16="http://schemas.microsoft.com/office/drawing/2014/main" id="{5CCC2BBE-D27A-D6BA-7F5D-982AB78804CD}"/>
              </a:ext>
            </a:extLst>
          </p:cNvPr>
          <p:cNvPicPr>
            <a:picLocks noChangeAspect="1"/>
          </p:cNvPicPr>
          <p:nvPr/>
        </p:nvPicPr>
        <p:blipFill>
          <a:blip r:embed="rId3"/>
          <a:stretch>
            <a:fillRect/>
          </a:stretch>
        </p:blipFill>
        <p:spPr>
          <a:xfrm>
            <a:off x="9201232" y="3855023"/>
            <a:ext cx="2397068" cy="1800000"/>
          </a:xfrm>
          <a:prstGeom prst="rect">
            <a:avLst/>
          </a:prstGeom>
          <a:ln w="12700">
            <a:solidFill>
              <a:schemeClr val="tx1"/>
            </a:solidFill>
          </a:ln>
        </p:spPr>
      </p:pic>
      <p:pic>
        <p:nvPicPr>
          <p:cNvPr id="22" name="Picture 21" descr="A close-up of a microscope&#10;&#10;Description automatically generated">
            <a:extLst>
              <a:ext uri="{FF2B5EF4-FFF2-40B4-BE49-F238E27FC236}">
                <a16:creationId xmlns:a16="http://schemas.microsoft.com/office/drawing/2014/main" id="{F302A94F-1A75-9014-99F0-556919CE19DE}"/>
              </a:ext>
            </a:extLst>
          </p:cNvPr>
          <p:cNvPicPr>
            <a:picLocks noChangeAspect="1"/>
          </p:cNvPicPr>
          <p:nvPr/>
        </p:nvPicPr>
        <p:blipFill>
          <a:blip r:embed="rId4"/>
          <a:stretch>
            <a:fillRect/>
          </a:stretch>
        </p:blipFill>
        <p:spPr>
          <a:xfrm>
            <a:off x="588457" y="3850836"/>
            <a:ext cx="2407553" cy="1800000"/>
          </a:xfrm>
          <a:prstGeom prst="rect">
            <a:avLst/>
          </a:prstGeom>
          <a:ln w="12700">
            <a:solidFill>
              <a:schemeClr val="tx1"/>
            </a:solidFill>
          </a:ln>
        </p:spPr>
      </p:pic>
      <p:pic>
        <p:nvPicPr>
          <p:cNvPr id="24" name="Picture 23" descr="A close-up of a blue and purple cell&#10;&#10;Description automatically generated">
            <a:extLst>
              <a:ext uri="{FF2B5EF4-FFF2-40B4-BE49-F238E27FC236}">
                <a16:creationId xmlns:a16="http://schemas.microsoft.com/office/drawing/2014/main" id="{731C6BA7-18CC-7449-8CE6-462FB7B21BFA}"/>
              </a:ext>
            </a:extLst>
          </p:cNvPr>
          <p:cNvPicPr>
            <a:picLocks noChangeAspect="1"/>
          </p:cNvPicPr>
          <p:nvPr/>
        </p:nvPicPr>
        <p:blipFill>
          <a:blip r:embed="rId5"/>
          <a:stretch>
            <a:fillRect/>
          </a:stretch>
        </p:blipFill>
        <p:spPr>
          <a:xfrm>
            <a:off x="3463548" y="3850836"/>
            <a:ext cx="2395055" cy="1800000"/>
          </a:xfrm>
          <a:prstGeom prst="rect">
            <a:avLst/>
          </a:prstGeom>
          <a:ln w="12700">
            <a:solidFill>
              <a:schemeClr val="tx1"/>
            </a:solidFill>
          </a:ln>
        </p:spPr>
      </p:pic>
      <p:sp>
        <p:nvSpPr>
          <p:cNvPr id="33" name="Rechteck 10">
            <a:extLst>
              <a:ext uri="{FF2B5EF4-FFF2-40B4-BE49-F238E27FC236}">
                <a16:creationId xmlns:a16="http://schemas.microsoft.com/office/drawing/2014/main" id="{62187799-B51D-9593-34A8-2C276D8D4A7A}"/>
              </a:ext>
            </a:extLst>
          </p:cNvPr>
          <p:cNvSpPr/>
          <p:nvPr/>
        </p:nvSpPr>
        <p:spPr>
          <a:xfrm>
            <a:off x="442913" y="1780408"/>
            <a:ext cx="2698639" cy="1685108"/>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34" name="Rechteck 10">
            <a:extLst>
              <a:ext uri="{FF2B5EF4-FFF2-40B4-BE49-F238E27FC236}">
                <a16:creationId xmlns:a16="http://schemas.microsoft.com/office/drawing/2014/main" id="{4AB972D4-713E-470F-A7DF-C5009CE88F58}"/>
              </a:ext>
            </a:extLst>
          </p:cNvPr>
          <p:cNvSpPr/>
          <p:nvPr/>
        </p:nvSpPr>
        <p:spPr>
          <a:xfrm>
            <a:off x="3315066" y="1780407"/>
            <a:ext cx="2698639" cy="1685108"/>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35" name="Rechteck 10">
            <a:extLst>
              <a:ext uri="{FF2B5EF4-FFF2-40B4-BE49-F238E27FC236}">
                <a16:creationId xmlns:a16="http://schemas.microsoft.com/office/drawing/2014/main" id="{684EC822-81F1-EA43-4D47-9E955879D3E9}"/>
              </a:ext>
            </a:extLst>
          </p:cNvPr>
          <p:cNvSpPr/>
          <p:nvPr/>
        </p:nvSpPr>
        <p:spPr>
          <a:xfrm>
            <a:off x="6187219" y="1780406"/>
            <a:ext cx="2698639" cy="1685108"/>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36" name="Rechteck 10">
            <a:extLst>
              <a:ext uri="{FF2B5EF4-FFF2-40B4-BE49-F238E27FC236}">
                <a16:creationId xmlns:a16="http://schemas.microsoft.com/office/drawing/2014/main" id="{40F429D9-C594-B3E5-54DC-2DDA5ADBE2C1}"/>
              </a:ext>
            </a:extLst>
          </p:cNvPr>
          <p:cNvSpPr/>
          <p:nvPr/>
        </p:nvSpPr>
        <p:spPr>
          <a:xfrm>
            <a:off x="9050999" y="1780405"/>
            <a:ext cx="2698639" cy="1685108"/>
          </a:xfrm>
          <a:prstGeom prst="rect">
            <a:avLst/>
          </a:prstGeom>
          <a:noFill/>
          <a:ln w="1270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Tree>
    <p:extLst>
      <p:ext uri="{BB962C8B-B14F-4D97-AF65-F5344CB8AC3E}">
        <p14:creationId xmlns:p14="http://schemas.microsoft.com/office/powerpoint/2010/main" val="645465889"/>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2" name="Straight Arrow Connector 81">
            <a:extLst>
              <a:ext uri="{FF2B5EF4-FFF2-40B4-BE49-F238E27FC236}">
                <a16:creationId xmlns:a16="http://schemas.microsoft.com/office/drawing/2014/main" id="{7911C54B-CBB4-542B-66E5-41CF9D2AE237}"/>
              </a:ext>
            </a:extLst>
          </p:cNvPr>
          <p:cNvCxnSpPr/>
          <p:nvPr/>
        </p:nvCxnSpPr>
        <p:spPr>
          <a:xfrm flipV="1">
            <a:off x="519263" y="2846863"/>
            <a:ext cx="11335768" cy="9993"/>
          </a:xfrm>
          <a:prstGeom prst="straightConnector1">
            <a:avLst/>
          </a:prstGeom>
          <a:noFill/>
          <a:ln w="57150" cap="flat">
            <a:solidFill>
              <a:schemeClr val="tx1"/>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59" name="Straight Arrow Connector 58">
            <a:extLst>
              <a:ext uri="{FF2B5EF4-FFF2-40B4-BE49-F238E27FC236}">
                <a16:creationId xmlns:a16="http://schemas.microsoft.com/office/drawing/2014/main" id="{E05D725B-7B99-339F-0DC4-D9EB84AED048}"/>
              </a:ext>
            </a:extLst>
          </p:cNvPr>
          <p:cNvCxnSpPr/>
          <p:nvPr/>
        </p:nvCxnSpPr>
        <p:spPr>
          <a:xfrm flipH="1">
            <a:off x="1255400" y="2912854"/>
            <a:ext cx="6698" cy="457537"/>
          </a:xfrm>
          <a:prstGeom prst="straightConnector1">
            <a:avLst/>
          </a:prstGeom>
          <a:noFill/>
          <a:ln w="254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62" name="Straight Arrow Connector 61">
            <a:extLst>
              <a:ext uri="{FF2B5EF4-FFF2-40B4-BE49-F238E27FC236}">
                <a16:creationId xmlns:a16="http://schemas.microsoft.com/office/drawing/2014/main" id="{B2F50885-2FD7-58A3-DB03-F06D9048C023}"/>
              </a:ext>
            </a:extLst>
          </p:cNvPr>
          <p:cNvCxnSpPr>
            <a:cxnSpLocks/>
          </p:cNvCxnSpPr>
          <p:nvPr/>
        </p:nvCxnSpPr>
        <p:spPr>
          <a:xfrm flipH="1">
            <a:off x="2833167" y="2912334"/>
            <a:ext cx="6698" cy="1371601"/>
          </a:xfrm>
          <a:prstGeom prst="straightConnector1">
            <a:avLst/>
          </a:prstGeom>
          <a:noFill/>
          <a:ln w="254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63" name="Straight Arrow Connector 62">
            <a:extLst>
              <a:ext uri="{FF2B5EF4-FFF2-40B4-BE49-F238E27FC236}">
                <a16:creationId xmlns:a16="http://schemas.microsoft.com/office/drawing/2014/main" id="{24879912-5235-0319-2030-122AE277B3B3}"/>
              </a:ext>
            </a:extLst>
          </p:cNvPr>
          <p:cNvCxnSpPr>
            <a:cxnSpLocks/>
          </p:cNvCxnSpPr>
          <p:nvPr/>
        </p:nvCxnSpPr>
        <p:spPr>
          <a:xfrm flipH="1">
            <a:off x="4351602" y="2912854"/>
            <a:ext cx="6698" cy="457537"/>
          </a:xfrm>
          <a:prstGeom prst="straightConnector1">
            <a:avLst/>
          </a:prstGeom>
          <a:noFill/>
          <a:ln w="254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66" name="Straight Arrow Connector 65">
            <a:extLst>
              <a:ext uri="{FF2B5EF4-FFF2-40B4-BE49-F238E27FC236}">
                <a16:creationId xmlns:a16="http://schemas.microsoft.com/office/drawing/2014/main" id="{0026BAFE-32F7-AA13-A494-00A5498FD3A2}"/>
              </a:ext>
            </a:extLst>
          </p:cNvPr>
          <p:cNvCxnSpPr>
            <a:cxnSpLocks/>
          </p:cNvCxnSpPr>
          <p:nvPr/>
        </p:nvCxnSpPr>
        <p:spPr>
          <a:xfrm flipH="1">
            <a:off x="5419307" y="2912334"/>
            <a:ext cx="6698" cy="1373275"/>
          </a:xfrm>
          <a:prstGeom prst="straightConnector1">
            <a:avLst/>
          </a:prstGeom>
          <a:noFill/>
          <a:ln w="254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67" name="Straight Arrow Connector 66">
            <a:extLst>
              <a:ext uri="{FF2B5EF4-FFF2-40B4-BE49-F238E27FC236}">
                <a16:creationId xmlns:a16="http://schemas.microsoft.com/office/drawing/2014/main" id="{76D06B94-FF63-A41C-7032-6BD48A913347}"/>
              </a:ext>
            </a:extLst>
          </p:cNvPr>
          <p:cNvCxnSpPr>
            <a:cxnSpLocks/>
          </p:cNvCxnSpPr>
          <p:nvPr/>
        </p:nvCxnSpPr>
        <p:spPr>
          <a:xfrm flipH="1">
            <a:off x="8023505" y="2912336"/>
            <a:ext cx="6698" cy="1369591"/>
          </a:xfrm>
          <a:prstGeom prst="straightConnector1">
            <a:avLst/>
          </a:prstGeom>
          <a:noFill/>
          <a:ln w="254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70" name="Straight Arrow Connector 69">
            <a:extLst>
              <a:ext uri="{FF2B5EF4-FFF2-40B4-BE49-F238E27FC236}">
                <a16:creationId xmlns:a16="http://schemas.microsoft.com/office/drawing/2014/main" id="{26A7D25D-6D9D-B00A-8FB4-17B309AF8FAB}"/>
              </a:ext>
            </a:extLst>
          </p:cNvPr>
          <p:cNvCxnSpPr>
            <a:cxnSpLocks/>
          </p:cNvCxnSpPr>
          <p:nvPr/>
        </p:nvCxnSpPr>
        <p:spPr>
          <a:xfrm flipH="1">
            <a:off x="10677944" y="2912334"/>
            <a:ext cx="6698" cy="1371601"/>
          </a:xfrm>
          <a:prstGeom prst="straightConnector1">
            <a:avLst/>
          </a:prstGeom>
          <a:noFill/>
          <a:ln w="254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75" name="Straight Arrow Connector 74">
            <a:extLst>
              <a:ext uri="{FF2B5EF4-FFF2-40B4-BE49-F238E27FC236}">
                <a16:creationId xmlns:a16="http://schemas.microsoft.com/office/drawing/2014/main" id="{421C306D-16EE-6AED-7FCE-6308F5BBC373}"/>
              </a:ext>
            </a:extLst>
          </p:cNvPr>
          <p:cNvCxnSpPr>
            <a:cxnSpLocks/>
          </p:cNvCxnSpPr>
          <p:nvPr/>
        </p:nvCxnSpPr>
        <p:spPr>
          <a:xfrm flipH="1">
            <a:off x="6486876" y="2912854"/>
            <a:ext cx="6698" cy="457537"/>
          </a:xfrm>
          <a:prstGeom prst="straightConnector1">
            <a:avLst/>
          </a:prstGeom>
          <a:noFill/>
          <a:ln w="254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79" name="Straight Arrow Connector 78">
            <a:extLst>
              <a:ext uri="{FF2B5EF4-FFF2-40B4-BE49-F238E27FC236}">
                <a16:creationId xmlns:a16="http://schemas.microsoft.com/office/drawing/2014/main" id="{A03CE523-E824-6A7D-2323-5E562F7A5498}"/>
              </a:ext>
            </a:extLst>
          </p:cNvPr>
          <p:cNvCxnSpPr>
            <a:cxnSpLocks/>
          </p:cNvCxnSpPr>
          <p:nvPr/>
        </p:nvCxnSpPr>
        <p:spPr>
          <a:xfrm flipH="1">
            <a:off x="9296295" y="2912840"/>
            <a:ext cx="6698" cy="459546"/>
          </a:xfrm>
          <a:prstGeom prst="straightConnector1">
            <a:avLst/>
          </a:prstGeom>
          <a:noFill/>
          <a:ln w="254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2" name="Textplatzhalter 1">
            <a:extLst>
              <a:ext uri="{FF2B5EF4-FFF2-40B4-BE49-F238E27FC236}">
                <a16:creationId xmlns:a16="http://schemas.microsoft.com/office/drawing/2014/main" id="{F7857DC1-B240-2014-FF35-005F90715DFD}"/>
              </a:ext>
            </a:extLst>
          </p:cNvPr>
          <p:cNvSpPr>
            <a:spLocks noGrp="1"/>
          </p:cNvSpPr>
          <p:nvPr>
            <p:ph type="body" sz="quarter" idx="14"/>
          </p:nvPr>
        </p:nvSpPr>
        <p:spPr/>
        <p:txBody>
          <a:bodyPr lIns="91440" tIns="45720" rIns="91440" bIns="45720" anchor="t"/>
          <a:lstStyle/>
          <a:p>
            <a:r>
              <a:rPr lang="en-US"/>
              <a:t>Modeling – Road Map</a:t>
            </a:r>
          </a:p>
        </p:txBody>
      </p:sp>
      <p:sp>
        <p:nvSpPr>
          <p:cNvPr id="3" name="Textplatzhalter 2">
            <a:extLst>
              <a:ext uri="{FF2B5EF4-FFF2-40B4-BE49-F238E27FC236}">
                <a16:creationId xmlns:a16="http://schemas.microsoft.com/office/drawing/2014/main" id="{281105C5-44E1-6128-D52F-2586EB705ADC}"/>
              </a:ext>
            </a:extLst>
          </p:cNvPr>
          <p:cNvSpPr>
            <a:spLocks noGrp="1"/>
          </p:cNvSpPr>
          <p:nvPr>
            <p:ph type="body" sz="quarter" idx="15"/>
          </p:nvPr>
        </p:nvSpPr>
        <p:spPr/>
        <p:txBody>
          <a:bodyPr lIns="91440" tIns="45720" rIns="91440" bIns="45720" anchor="t"/>
          <a:lstStyle/>
          <a:p>
            <a:r>
              <a:rPr lang="en-US">
                <a:ea typeface="+mj-lt"/>
                <a:cs typeface="+mj-lt"/>
              </a:rPr>
              <a:t>Path</a:t>
            </a:r>
            <a:r>
              <a:rPr lang="en-US"/>
              <a:t> to Optimal Blood Cell Classification: From Baseline to Advanced Models</a:t>
            </a:r>
          </a:p>
        </p:txBody>
      </p:sp>
      <p:sp>
        <p:nvSpPr>
          <p:cNvPr id="25" name="Oval 24">
            <a:extLst>
              <a:ext uri="{FF2B5EF4-FFF2-40B4-BE49-F238E27FC236}">
                <a16:creationId xmlns:a16="http://schemas.microsoft.com/office/drawing/2014/main" id="{AF50A492-B016-E8BE-92C2-E5C7EC0C2F59}"/>
              </a:ext>
            </a:extLst>
          </p:cNvPr>
          <p:cNvSpPr>
            <a:spLocks noChangeAspect="1"/>
          </p:cNvSpPr>
          <p:nvPr/>
        </p:nvSpPr>
        <p:spPr>
          <a:xfrm>
            <a:off x="1113048" y="2720811"/>
            <a:ext cx="279681" cy="273316"/>
          </a:xfrm>
          <a:prstGeom prst="ellipse">
            <a:avLst/>
          </a:prstGeom>
          <a:solidFill>
            <a:schemeClr val="tx1">
              <a:lumMod val="50000"/>
              <a:lumOff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rgbClr val="A5A5A5"/>
              </a:solidFill>
              <a:effectLst/>
              <a:uFillTx/>
              <a:latin typeface="+mn-lt"/>
              <a:ea typeface="+mn-ea"/>
              <a:cs typeface="+mn-cs"/>
              <a:sym typeface="Helvetica Neue Medium"/>
            </a:endParaRPr>
          </a:p>
        </p:txBody>
      </p:sp>
      <p:sp>
        <p:nvSpPr>
          <p:cNvPr id="26" name="Textplatzhalter 2">
            <a:extLst>
              <a:ext uri="{FF2B5EF4-FFF2-40B4-BE49-F238E27FC236}">
                <a16:creationId xmlns:a16="http://schemas.microsoft.com/office/drawing/2014/main" id="{CBA1AAD0-6D7B-083C-8A3C-4D9FC143648D}"/>
              </a:ext>
            </a:extLst>
          </p:cNvPr>
          <p:cNvSpPr txBox="1">
            <a:spLocks/>
          </p:cNvSpPr>
          <p:nvPr/>
        </p:nvSpPr>
        <p:spPr>
          <a:xfrm>
            <a:off x="562816" y="1701820"/>
            <a:ext cx="1371600" cy="458401"/>
          </a:xfrm>
          <a:prstGeom prst="rect">
            <a:avLst/>
          </a:prstGeom>
          <a:solidFill>
            <a:schemeClr val="bg2"/>
          </a:solidFill>
          <a:ln>
            <a:solidFill>
              <a:schemeClr val="tx1"/>
            </a:solidFill>
          </a:ln>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r>
              <a:rPr lang="en-US" b="1" kern="0"/>
              <a:t>Baseline</a:t>
            </a:r>
          </a:p>
        </p:txBody>
      </p:sp>
      <p:sp>
        <p:nvSpPr>
          <p:cNvPr id="8" name="Textplatzhalter 2">
            <a:extLst>
              <a:ext uri="{FF2B5EF4-FFF2-40B4-BE49-F238E27FC236}">
                <a16:creationId xmlns:a16="http://schemas.microsoft.com/office/drawing/2014/main" id="{F5A9AF91-93BD-80AF-27C8-919E677D2DCA}"/>
              </a:ext>
            </a:extLst>
          </p:cNvPr>
          <p:cNvSpPr txBox="1">
            <a:spLocks/>
          </p:cNvSpPr>
          <p:nvPr/>
        </p:nvSpPr>
        <p:spPr>
          <a:xfrm>
            <a:off x="4046788" y="1701819"/>
            <a:ext cx="2742992" cy="458539"/>
          </a:xfrm>
          <a:prstGeom prst="rect">
            <a:avLst/>
          </a:prstGeom>
          <a:solidFill>
            <a:schemeClr val="bg2"/>
          </a:solidFill>
          <a:ln>
            <a:solidFill>
              <a:schemeClr val="tx1"/>
            </a:solidFill>
          </a:ln>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r>
              <a:rPr lang="en-US" b="1" kern="0"/>
              <a:t>Transfer Learning</a:t>
            </a:r>
            <a:endParaRPr lang="en-US"/>
          </a:p>
        </p:txBody>
      </p:sp>
      <p:sp>
        <p:nvSpPr>
          <p:cNvPr id="9" name="Textplatzhalter 2">
            <a:extLst>
              <a:ext uri="{FF2B5EF4-FFF2-40B4-BE49-F238E27FC236}">
                <a16:creationId xmlns:a16="http://schemas.microsoft.com/office/drawing/2014/main" id="{02A4C795-D61B-AD3B-F20D-3F452874B8EE}"/>
              </a:ext>
            </a:extLst>
          </p:cNvPr>
          <p:cNvSpPr txBox="1">
            <a:spLocks/>
          </p:cNvSpPr>
          <p:nvPr/>
        </p:nvSpPr>
        <p:spPr>
          <a:xfrm>
            <a:off x="7912279" y="1703946"/>
            <a:ext cx="2742992" cy="458539"/>
          </a:xfrm>
          <a:prstGeom prst="rect">
            <a:avLst/>
          </a:prstGeom>
          <a:solidFill>
            <a:schemeClr val="bg2"/>
          </a:solidFill>
          <a:ln>
            <a:solidFill>
              <a:schemeClr val="tx1"/>
            </a:solidFill>
          </a:ln>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r>
              <a:rPr lang="en-US" b="1" kern="0"/>
              <a:t>Transformer</a:t>
            </a:r>
            <a:endParaRPr lang="en-US"/>
          </a:p>
        </p:txBody>
      </p:sp>
      <p:sp>
        <p:nvSpPr>
          <p:cNvPr id="10" name="Oval 9">
            <a:extLst>
              <a:ext uri="{FF2B5EF4-FFF2-40B4-BE49-F238E27FC236}">
                <a16:creationId xmlns:a16="http://schemas.microsoft.com/office/drawing/2014/main" id="{D7E27BC2-C248-223E-6A34-C579CDDF27E2}"/>
              </a:ext>
            </a:extLst>
          </p:cNvPr>
          <p:cNvSpPr>
            <a:spLocks noChangeAspect="1"/>
          </p:cNvSpPr>
          <p:nvPr/>
        </p:nvSpPr>
        <p:spPr>
          <a:xfrm>
            <a:off x="10559135" y="2720811"/>
            <a:ext cx="279681" cy="273316"/>
          </a:xfrm>
          <a:prstGeom prst="ellipse">
            <a:avLst/>
          </a:prstGeom>
          <a:solidFill>
            <a:schemeClr val="accent3">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11" name="Oval 10">
            <a:extLst>
              <a:ext uri="{FF2B5EF4-FFF2-40B4-BE49-F238E27FC236}">
                <a16:creationId xmlns:a16="http://schemas.microsoft.com/office/drawing/2014/main" id="{35CE3C19-6A79-322B-8470-E2318F4F33B3}"/>
              </a:ext>
            </a:extLst>
          </p:cNvPr>
          <p:cNvSpPr>
            <a:spLocks noChangeAspect="1"/>
          </p:cNvSpPr>
          <p:nvPr/>
        </p:nvSpPr>
        <p:spPr>
          <a:xfrm>
            <a:off x="4214454" y="2720811"/>
            <a:ext cx="279681" cy="273316"/>
          </a:xfrm>
          <a:prstGeom prst="ellipse">
            <a:avLst/>
          </a:prstGeom>
          <a:solidFill>
            <a:srgbClr val="FFC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13" name="Textplatzhalter 2">
            <a:extLst>
              <a:ext uri="{FF2B5EF4-FFF2-40B4-BE49-F238E27FC236}">
                <a16:creationId xmlns:a16="http://schemas.microsoft.com/office/drawing/2014/main" id="{B8B255FD-48C3-3A48-C630-FC13498841FE}"/>
              </a:ext>
            </a:extLst>
          </p:cNvPr>
          <p:cNvSpPr txBox="1">
            <a:spLocks/>
          </p:cNvSpPr>
          <p:nvPr/>
        </p:nvSpPr>
        <p:spPr>
          <a:xfrm>
            <a:off x="3425855" y="3519376"/>
            <a:ext cx="1828963" cy="451841"/>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50000"/>
              </a:lnSpc>
            </a:pPr>
            <a:r>
              <a:rPr lang="en-US" kern="0">
                <a:ea typeface="+mj-lt"/>
                <a:cs typeface="+mj-lt"/>
              </a:rPr>
              <a:t>Model Exploration</a:t>
            </a:r>
            <a:endParaRPr lang="en-US"/>
          </a:p>
          <a:p>
            <a:pPr algn="ctr">
              <a:lnSpc>
                <a:spcPct val="150000"/>
              </a:lnSpc>
            </a:pPr>
            <a:r>
              <a:rPr lang="en-US" kern="0"/>
              <a:t>&amp; Selection</a:t>
            </a:r>
          </a:p>
        </p:txBody>
      </p:sp>
      <p:sp>
        <p:nvSpPr>
          <p:cNvPr id="18" name="Textplatzhalter 2">
            <a:extLst>
              <a:ext uri="{FF2B5EF4-FFF2-40B4-BE49-F238E27FC236}">
                <a16:creationId xmlns:a16="http://schemas.microsoft.com/office/drawing/2014/main" id="{DC01F92F-A882-37D9-10C1-13DC7D05A57F}"/>
              </a:ext>
            </a:extLst>
          </p:cNvPr>
          <p:cNvSpPr txBox="1">
            <a:spLocks/>
          </p:cNvSpPr>
          <p:nvPr/>
        </p:nvSpPr>
        <p:spPr>
          <a:xfrm>
            <a:off x="5583409" y="3515189"/>
            <a:ext cx="1829787" cy="460214"/>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50000"/>
              </a:lnSpc>
            </a:pPr>
            <a:r>
              <a:rPr lang="en-US" kern="0"/>
              <a:t>Final Training</a:t>
            </a:r>
            <a:endParaRPr lang="en-US"/>
          </a:p>
        </p:txBody>
      </p:sp>
      <p:sp>
        <p:nvSpPr>
          <p:cNvPr id="20" name="Textplatzhalter 2">
            <a:extLst>
              <a:ext uri="{FF2B5EF4-FFF2-40B4-BE49-F238E27FC236}">
                <a16:creationId xmlns:a16="http://schemas.microsoft.com/office/drawing/2014/main" id="{4785F107-5484-4858-38B9-B3285EFF8040}"/>
              </a:ext>
            </a:extLst>
          </p:cNvPr>
          <p:cNvSpPr txBox="1">
            <a:spLocks/>
          </p:cNvSpPr>
          <p:nvPr/>
        </p:nvSpPr>
        <p:spPr>
          <a:xfrm>
            <a:off x="4500316" y="4482924"/>
            <a:ext cx="1825356" cy="450166"/>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50000"/>
              </a:lnSpc>
            </a:pPr>
            <a:r>
              <a:rPr lang="en-US" kern="0">
                <a:ea typeface="+mj-lt"/>
                <a:cs typeface="+mj-lt"/>
              </a:rPr>
              <a:t>Bayesian Optimization</a:t>
            </a:r>
            <a:endParaRPr lang="en-US"/>
          </a:p>
        </p:txBody>
      </p:sp>
      <p:sp>
        <p:nvSpPr>
          <p:cNvPr id="30" name="Left Brace 29">
            <a:extLst>
              <a:ext uri="{FF2B5EF4-FFF2-40B4-BE49-F238E27FC236}">
                <a16:creationId xmlns:a16="http://schemas.microsoft.com/office/drawing/2014/main" id="{BE927285-AD03-084A-6F7D-60BE64BB0379}"/>
              </a:ext>
            </a:extLst>
          </p:cNvPr>
          <p:cNvSpPr/>
          <p:nvPr/>
        </p:nvSpPr>
        <p:spPr>
          <a:xfrm rot="5400000">
            <a:off x="1021752" y="1731469"/>
            <a:ext cx="453728" cy="1371599"/>
          </a:xfrm>
          <a:prstGeom prst="leftBrace">
            <a:avLst/>
          </a:prstGeom>
          <a:noFill/>
          <a:ln w="57150" cap="flat">
            <a:solidFill>
              <a:schemeClr val="bg2">
                <a:lumMod val="90000"/>
              </a:schemeClr>
            </a:solidFill>
            <a:prstDash val="solid"/>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32" name="Oval 31">
            <a:extLst>
              <a:ext uri="{FF2B5EF4-FFF2-40B4-BE49-F238E27FC236}">
                <a16:creationId xmlns:a16="http://schemas.microsoft.com/office/drawing/2014/main" id="{489EFF2F-CA22-105C-8741-9F9E90168724}"/>
              </a:ext>
            </a:extLst>
          </p:cNvPr>
          <p:cNvSpPr>
            <a:spLocks noChangeAspect="1"/>
          </p:cNvSpPr>
          <p:nvPr/>
        </p:nvSpPr>
        <p:spPr>
          <a:xfrm>
            <a:off x="5284540" y="2720811"/>
            <a:ext cx="279681" cy="273316"/>
          </a:xfrm>
          <a:prstGeom prst="ellipse">
            <a:avLst/>
          </a:prstGeom>
          <a:solidFill>
            <a:srgbClr val="FFC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35" name="Oval 34">
            <a:extLst>
              <a:ext uri="{FF2B5EF4-FFF2-40B4-BE49-F238E27FC236}">
                <a16:creationId xmlns:a16="http://schemas.microsoft.com/office/drawing/2014/main" id="{4DE65AFA-27B2-6FE0-C0B3-4A32EC0E2053}"/>
              </a:ext>
            </a:extLst>
          </p:cNvPr>
          <p:cNvSpPr>
            <a:spLocks noChangeAspect="1"/>
          </p:cNvSpPr>
          <p:nvPr/>
        </p:nvSpPr>
        <p:spPr>
          <a:xfrm>
            <a:off x="6354627" y="2720811"/>
            <a:ext cx="279681" cy="273316"/>
          </a:xfrm>
          <a:prstGeom prst="ellipse">
            <a:avLst/>
          </a:prstGeom>
          <a:solidFill>
            <a:srgbClr val="FFC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37" name="Oval 36">
            <a:extLst>
              <a:ext uri="{FF2B5EF4-FFF2-40B4-BE49-F238E27FC236}">
                <a16:creationId xmlns:a16="http://schemas.microsoft.com/office/drawing/2014/main" id="{492F52C7-3CA3-789F-6081-8604DD66BF0B}"/>
              </a:ext>
            </a:extLst>
          </p:cNvPr>
          <p:cNvSpPr>
            <a:spLocks noChangeAspect="1"/>
          </p:cNvSpPr>
          <p:nvPr/>
        </p:nvSpPr>
        <p:spPr>
          <a:xfrm>
            <a:off x="7883050" y="2720811"/>
            <a:ext cx="279681" cy="273316"/>
          </a:xfrm>
          <a:prstGeom prst="ellipse">
            <a:avLst/>
          </a:prstGeom>
          <a:solidFill>
            <a:schemeClr val="accent3">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39" name="Textplatzhalter 2">
            <a:extLst>
              <a:ext uri="{FF2B5EF4-FFF2-40B4-BE49-F238E27FC236}">
                <a16:creationId xmlns:a16="http://schemas.microsoft.com/office/drawing/2014/main" id="{7DD6B5CC-617E-6FF8-6DAE-1B4CA762465C}"/>
              </a:ext>
            </a:extLst>
          </p:cNvPr>
          <p:cNvSpPr txBox="1">
            <a:spLocks/>
          </p:cNvSpPr>
          <p:nvPr/>
        </p:nvSpPr>
        <p:spPr>
          <a:xfrm>
            <a:off x="7107148" y="4482924"/>
            <a:ext cx="1832055" cy="450166"/>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50000"/>
              </a:lnSpc>
            </a:pPr>
            <a:r>
              <a:rPr lang="en-US" kern="0">
                <a:ea typeface="+mj-lt"/>
                <a:cs typeface="+mj-lt"/>
              </a:rPr>
              <a:t>Model Exploration &amp; Selection</a:t>
            </a:r>
            <a:endParaRPr lang="en-US"/>
          </a:p>
        </p:txBody>
      </p:sp>
      <p:sp>
        <p:nvSpPr>
          <p:cNvPr id="41" name="Textplatzhalter 2">
            <a:extLst>
              <a:ext uri="{FF2B5EF4-FFF2-40B4-BE49-F238E27FC236}">
                <a16:creationId xmlns:a16="http://schemas.microsoft.com/office/drawing/2014/main" id="{F8615F10-BFC9-0DF4-3BD2-2D98FB44E15E}"/>
              </a:ext>
            </a:extLst>
          </p:cNvPr>
          <p:cNvSpPr txBox="1">
            <a:spLocks/>
          </p:cNvSpPr>
          <p:nvPr/>
        </p:nvSpPr>
        <p:spPr>
          <a:xfrm>
            <a:off x="8432816" y="3515189"/>
            <a:ext cx="1825356" cy="458539"/>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50000"/>
              </a:lnSpc>
            </a:pPr>
            <a:r>
              <a:rPr lang="en-US" kern="0"/>
              <a:t>Bayesian Optimization</a:t>
            </a:r>
            <a:endParaRPr lang="en-US"/>
          </a:p>
        </p:txBody>
      </p:sp>
      <p:sp>
        <p:nvSpPr>
          <p:cNvPr id="42" name="Textplatzhalter 2">
            <a:extLst>
              <a:ext uri="{FF2B5EF4-FFF2-40B4-BE49-F238E27FC236}">
                <a16:creationId xmlns:a16="http://schemas.microsoft.com/office/drawing/2014/main" id="{3321FC77-130A-636E-F2D5-4BE14EB64C49}"/>
              </a:ext>
            </a:extLst>
          </p:cNvPr>
          <p:cNvSpPr txBox="1">
            <a:spLocks/>
          </p:cNvSpPr>
          <p:nvPr/>
        </p:nvSpPr>
        <p:spPr>
          <a:xfrm>
            <a:off x="9782273" y="4478737"/>
            <a:ext cx="1825356" cy="458539"/>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50000"/>
              </a:lnSpc>
            </a:pPr>
            <a:r>
              <a:rPr lang="en-US" kern="0"/>
              <a:t>Final Training</a:t>
            </a:r>
            <a:endParaRPr lang="en-US"/>
          </a:p>
        </p:txBody>
      </p:sp>
      <p:sp>
        <p:nvSpPr>
          <p:cNvPr id="43" name="Textplatzhalter 2">
            <a:extLst>
              <a:ext uri="{FF2B5EF4-FFF2-40B4-BE49-F238E27FC236}">
                <a16:creationId xmlns:a16="http://schemas.microsoft.com/office/drawing/2014/main" id="{5A8E1E2C-FCE6-BB81-78AA-AB60D2883262}"/>
              </a:ext>
            </a:extLst>
          </p:cNvPr>
          <p:cNvSpPr txBox="1">
            <a:spLocks/>
          </p:cNvSpPr>
          <p:nvPr/>
        </p:nvSpPr>
        <p:spPr>
          <a:xfrm>
            <a:off x="361995" y="3515189"/>
            <a:ext cx="1828963" cy="460215"/>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50000"/>
              </a:lnSpc>
            </a:pPr>
            <a:r>
              <a:rPr lang="en-US" kern="0">
                <a:ea typeface="+mj-lt"/>
                <a:cs typeface="+mj-lt"/>
              </a:rPr>
              <a:t>Baseline</a:t>
            </a:r>
            <a:endParaRPr lang="en-US"/>
          </a:p>
          <a:p>
            <a:pPr algn="ctr">
              <a:lnSpc>
                <a:spcPct val="150000"/>
              </a:lnSpc>
            </a:pPr>
            <a:r>
              <a:rPr lang="en-US" kern="0">
                <a:ea typeface="+mj-lt"/>
                <a:cs typeface="+mj-lt"/>
              </a:rPr>
              <a:t>Simple CNN</a:t>
            </a:r>
            <a:endParaRPr lang="en-US"/>
          </a:p>
        </p:txBody>
      </p:sp>
      <p:sp>
        <p:nvSpPr>
          <p:cNvPr id="49" name="Textplatzhalter 2">
            <a:extLst>
              <a:ext uri="{FF2B5EF4-FFF2-40B4-BE49-F238E27FC236}">
                <a16:creationId xmlns:a16="http://schemas.microsoft.com/office/drawing/2014/main" id="{C881E14A-E9E4-4B08-F963-8CA567C4BB3F}"/>
              </a:ext>
            </a:extLst>
          </p:cNvPr>
          <p:cNvSpPr txBox="1">
            <a:spLocks/>
          </p:cNvSpPr>
          <p:nvPr/>
        </p:nvSpPr>
        <p:spPr>
          <a:xfrm>
            <a:off x="1563555" y="4315589"/>
            <a:ext cx="2545069" cy="760017"/>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50000"/>
              </a:lnSpc>
            </a:pPr>
            <a:r>
              <a:rPr lang="en-US" kern="0">
                <a:ea typeface="+mj-lt"/>
                <a:cs typeface="+mj-lt"/>
              </a:rPr>
              <a:t>Benchmark </a:t>
            </a:r>
            <a:endParaRPr lang="en-US">
              <a:ea typeface="+mj-lt"/>
              <a:cs typeface="+mj-lt"/>
            </a:endParaRPr>
          </a:p>
          <a:p>
            <a:pPr algn="ctr">
              <a:lnSpc>
                <a:spcPct val="150000"/>
              </a:lnSpc>
            </a:pPr>
            <a:r>
              <a:rPr lang="en-US" kern="0">
                <a:ea typeface="+mj-lt"/>
                <a:cs typeface="+mj-lt"/>
              </a:rPr>
              <a:t>Competitor's Complex CNN</a:t>
            </a:r>
            <a:endParaRPr lang="en-US"/>
          </a:p>
        </p:txBody>
      </p:sp>
      <p:sp>
        <p:nvSpPr>
          <p:cNvPr id="51" name="Oval 50">
            <a:extLst>
              <a:ext uri="{FF2B5EF4-FFF2-40B4-BE49-F238E27FC236}">
                <a16:creationId xmlns:a16="http://schemas.microsoft.com/office/drawing/2014/main" id="{D4733507-C3D3-6E57-D01C-B6852151BEA8}"/>
              </a:ext>
            </a:extLst>
          </p:cNvPr>
          <p:cNvSpPr>
            <a:spLocks noChangeAspect="1"/>
          </p:cNvSpPr>
          <p:nvPr/>
        </p:nvSpPr>
        <p:spPr>
          <a:xfrm>
            <a:off x="2712461" y="2720811"/>
            <a:ext cx="279681" cy="273316"/>
          </a:xfrm>
          <a:prstGeom prst="ellipse">
            <a:avLst/>
          </a:prstGeom>
          <a:solidFill>
            <a:schemeClr val="accent5">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rgbClr val="A5A5A5"/>
              </a:solidFill>
              <a:effectLst/>
              <a:uFillTx/>
              <a:latin typeface="+mn-lt"/>
              <a:ea typeface="+mn-ea"/>
              <a:cs typeface="+mn-cs"/>
              <a:sym typeface="Helvetica Neue Medium"/>
            </a:endParaRPr>
          </a:p>
        </p:txBody>
      </p:sp>
      <p:sp>
        <p:nvSpPr>
          <p:cNvPr id="53" name="Oval 52">
            <a:extLst>
              <a:ext uri="{FF2B5EF4-FFF2-40B4-BE49-F238E27FC236}">
                <a16:creationId xmlns:a16="http://schemas.microsoft.com/office/drawing/2014/main" id="{0ADA5B24-5788-6840-F4A6-AA8CC3547EFF}"/>
              </a:ext>
            </a:extLst>
          </p:cNvPr>
          <p:cNvSpPr>
            <a:spLocks noChangeAspect="1"/>
          </p:cNvSpPr>
          <p:nvPr/>
        </p:nvSpPr>
        <p:spPr>
          <a:xfrm>
            <a:off x="9156315" y="2720811"/>
            <a:ext cx="279681" cy="273316"/>
          </a:xfrm>
          <a:prstGeom prst="ellipse">
            <a:avLst/>
          </a:prstGeom>
          <a:solidFill>
            <a:schemeClr val="accent3">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56" name="Left Brace 55">
            <a:extLst>
              <a:ext uri="{FF2B5EF4-FFF2-40B4-BE49-F238E27FC236}">
                <a16:creationId xmlns:a16="http://schemas.microsoft.com/office/drawing/2014/main" id="{7FF20E80-89E4-71C3-4190-1974BAC2E72F}"/>
              </a:ext>
            </a:extLst>
          </p:cNvPr>
          <p:cNvSpPr/>
          <p:nvPr/>
        </p:nvSpPr>
        <p:spPr>
          <a:xfrm rot="5400000">
            <a:off x="9074961" y="752824"/>
            <a:ext cx="414205" cy="3289367"/>
          </a:xfrm>
          <a:prstGeom prst="leftBrace">
            <a:avLst/>
          </a:prstGeom>
          <a:noFill/>
          <a:ln w="57150" cap="flat">
            <a:solidFill>
              <a:schemeClr val="bg2">
                <a:lumMod val="90000"/>
              </a:schemeClr>
            </a:solidFill>
            <a:prstDash val="solid"/>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57" name="Left Brace 56">
            <a:extLst>
              <a:ext uri="{FF2B5EF4-FFF2-40B4-BE49-F238E27FC236}">
                <a16:creationId xmlns:a16="http://schemas.microsoft.com/office/drawing/2014/main" id="{3C7A0172-3908-C1B1-307A-F5CD95E17224}"/>
              </a:ext>
            </a:extLst>
          </p:cNvPr>
          <p:cNvSpPr/>
          <p:nvPr/>
        </p:nvSpPr>
        <p:spPr>
          <a:xfrm rot="5400000">
            <a:off x="5213044" y="751148"/>
            <a:ext cx="414205" cy="3292718"/>
          </a:xfrm>
          <a:prstGeom prst="leftBrace">
            <a:avLst/>
          </a:prstGeom>
          <a:noFill/>
          <a:ln w="57150" cap="flat">
            <a:solidFill>
              <a:schemeClr val="bg2">
                <a:lumMod val="90000"/>
              </a:schemeClr>
            </a:solidFill>
            <a:prstDash val="solid"/>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pic>
        <p:nvPicPr>
          <p:cNvPr id="77" name="Picture 76" descr="Light bulb: Vector Icons free download in SVG, PNG Format">
            <a:extLst>
              <a:ext uri="{FF2B5EF4-FFF2-40B4-BE49-F238E27FC236}">
                <a16:creationId xmlns:a16="http://schemas.microsoft.com/office/drawing/2014/main" id="{9E0C1184-7467-D611-5C8D-207CE613A196}"/>
              </a:ext>
            </a:extLst>
          </p:cNvPr>
          <p:cNvPicPr>
            <a:picLocks noChangeAspect="1"/>
          </p:cNvPicPr>
          <p:nvPr/>
        </p:nvPicPr>
        <p:blipFill>
          <a:blip r:embed="rId2"/>
          <a:stretch>
            <a:fillRect/>
          </a:stretch>
        </p:blipFill>
        <p:spPr>
          <a:xfrm>
            <a:off x="7023166" y="1934266"/>
            <a:ext cx="683288" cy="624674"/>
          </a:xfrm>
          <a:prstGeom prst="rect">
            <a:avLst/>
          </a:prstGeom>
        </p:spPr>
      </p:pic>
      <p:pic>
        <p:nvPicPr>
          <p:cNvPr id="78" name="Picture 77" descr="Light bulb: Vector Icons free download in SVG, PNG Format">
            <a:extLst>
              <a:ext uri="{FF2B5EF4-FFF2-40B4-BE49-F238E27FC236}">
                <a16:creationId xmlns:a16="http://schemas.microsoft.com/office/drawing/2014/main" id="{4C5C9A29-A420-DA1F-A079-5EACE6BFACC0}"/>
              </a:ext>
            </a:extLst>
          </p:cNvPr>
          <p:cNvPicPr>
            <a:picLocks noChangeAspect="1"/>
          </p:cNvPicPr>
          <p:nvPr/>
        </p:nvPicPr>
        <p:blipFill>
          <a:blip r:embed="rId2"/>
          <a:stretch>
            <a:fillRect/>
          </a:stretch>
        </p:blipFill>
        <p:spPr>
          <a:xfrm>
            <a:off x="10868375" y="1934265"/>
            <a:ext cx="683288" cy="624674"/>
          </a:xfrm>
          <a:prstGeom prst="rect">
            <a:avLst/>
          </a:prstGeom>
        </p:spPr>
      </p:pic>
      <p:sp>
        <p:nvSpPr>
          <p:cNvPr id="4" name="Textplatzhalter 2">
            <a:extLst>
              <a:ext uri="{FF2B5EF4-FFF2-40B4-BE49-F238E27FC236}">
                <a16:creationId xmlns:a16="http://schemas.microsoft.com/office/drawing/2014/main" id="{B3EF7DA6-AD96-645A-EE73-0FAF0C9223E0}"/>
              </a:ext>
            </a:extLst>
          </p:cNvPr>
          <p:cNvSpPr txBox="1">
            <a:spLocks/>
          </p:cNvSpPr>
          <p:nvPr/>
        </p:nvSpPr>
        <p:spPr>
          <a:xfrm>
            <a:off x="2147520" y="1701820"/>
            <a:ext cx="1371600" cy="458401"/>
          </a:xfrm>
          <a:prstGeom prst="rect">
            <a:avLst/>
          </a:prstGeom>
          <a:solidFill>
            <a:schemeClr val="bg2"/>
          </a:solidFill>
          <a:ln>
            <a:solidFill>
              <a:schemeClr val="tx1"/>
            </a:solidFill>
          </a:ln>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r>
              <a:rPr lang="en-US" b="1" kern="0"/>
              <a:t>Benchmark</a:t>
            </a:r>
          </a:p>
        </p:txBody>
      </p:sp>
      <p:sp>
        <p:nvSpPr>
          <p:cNvPr id="5" name="Left Brace 4">
            <a:extLst>
              <a:ext uri="{FF2B5EF4-FFF2-40B4-BE49-F238E27FC236}">
                <a16:creationId xmlns:a16="http://schemas.microsoft.com/office/drawing/2014/main" id="{180B94DB-E901-7733-DD40-F4461253275C}"/>
              </a:ext>
            </a:extLst>
          </p:cNvPr>
          <p:cNvSpPr/>
          <p:nvPr/>
        </p:nvSpPr>
        <p:spPr>
          <a:xfrm rot="5400000">
            <a:off x="2601815" y="1731470"/>
            <a:ext cx="453728" cy="1371599"/>
          </a:xfrm>
          <a:prstGeom prst="leftBrace">
            <a:avLst/>
          </a:prstGeom>
          <a:noFill/>
          <a:ln w="57150" cap="flat">
            <a:solidFill>
              <a:schemeClr val="bg2">
                <a:lumMod val="90000"/>
              </a:schemeClr>
            </a:solidFill>
            <a:prstDash val="solid"/>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Tree>
    <p:extLst>
      <p:ext uri="{BB962C8B-B14F-4D97-AF65-F5344CB8AC3E}">
        <p14:creationId xmlns:p14="http://schemas.microsoft.com/office/powerpoint/2010/main" val="185095388"/>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688307B-92F9-BB65-5396-554531F6CA47}"/>
              </a:ext>
            </a:extLst>
          </p:cNvPr>
          <p:cNvGraphicFramePr>
            <a:graphicFrameLocks noChangeAspect="1"/>
          </p:cNvGraphicFramePr>
          <p:nvPr>
            <p:custDataLst>
              <p:tags r:id="rId1"/>
            </p:custDataLst>
            <p:extLst>
              <p:ext uri="{D42A27DB-BD31-4B8C-83A1-F6EECF244321}">
                <p14:modId xmlns:p14="http://schemas.microsoft.com/office/powerpoint/2010/main" val="727156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6" imgH="426" progId="TCLayout.ActiveDocument.1">
                  <p:embed/>
                </p:oleObj>
              </mc:Choice>
              <mc:Fallback>
                <p:oleObj name="think-cell Folie" r:id="rId4" imgW="426" imgH="426" progId="TCLayout.ActiveDocument.1">
                  <p:embed/>
                  <p:pic>
                    <p:nvPicPr>
                      <p:cNvPr id="6" name="think-cell data - do not delete" hidden="1">
                        <a:extLst>
                          <a:ext uri="{FF2B5EF4-FFF2-40B4-BE49-F238E27FC236}">
                            <a16:creationId xmlns:a16="http://schemas.microsoft.com/office/drawing/2014/main" id="{B688307B-92F9-BB65-5396-554531F6CA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Arrow Connector 34">
            <a:extLst>
              <a:ext uri="{FF2B5EF4-FFF2-40B4-BE49-F238E27FC236}">
                <a16:creationId xmlns:a16="http://schemas.microsoft.com/office/drawing/2014/main" id="{B3839C4D-065B-DC59-6043-7B7E6EF20899}"/>
              </a:ext>
            </a:extLst>
          </p:cNvPr>
          <p:cNvCxnSpPr>
            <a:cxnSpLocks/>
          </p:cNvCxnSpPr>
          <p:nvPr/>
        </p:nvCxnSpPr>
        <p:spPr>
          <a:xfrm flipV="1">
            <a:off x="519263" y="2471656"/>
            <a:ext cx="11850258" cy="10447"/>
          </a:xfrm>
          <a:prstGeom prst="straightConnector1">
            <a:avLst/>
          </a:prstGeom>
          <a:noFill/>
          <a:ln w="57150" cap="flat">
            <a:solidFill>
              <a:schemeClr val="tx1"/>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2" name="Textplatzhalter 1">
            <a:extLst>
              <a:ext uri="{FF2B5EF4-FFF2-40B4-BE49-F238E27FC236}">
                <a16:creationId xmlns:a16="http://schemas.microsoft.com/office/drawing/2014/main" id="{F7857DC1-B240-2014-FF35-005F90715DFD}"/>
              </a:ext>
            </a:extLst>
          </p:cNvPr>
          <p:cNvSpPr>
            <a:spLocks noGrp="1"/>
          </p:cNvSpPr>
          <p:nvPr>
            <p:ph type="body" sz="quarter" idx="14"/>
          </p:nvPr>
        </p:nvSpPr>
        <p:spPr/>
        <p:txBody>
          <a:bodyPr lIns="91440" tIns="45720" rIns="91440" bIns="45720" anchor="t"/>
          <a:lstStyle/>
          <a:p>
            <a:r>
              <a:rPr lang="en-US"/>
              <a:t>Modeling – Baseline &amp; Benchmarking</a:t>
            </a:r>
          </a:p>
        </p:txBody>
      </p:sp>
      <p:sp>
        <p:nvSpPr>
          <p:cNvPr id="3" name="Textplatzhalter 2">
            <a:extLst>
              <a:ext uri="{FF2B5EF4-FFF2-40B4-BE49-F238E27FC236}">
                <a16:creationId xmlns:a16="http://schemas.microsoft.com/office/drawing/2014/main" id="{281105C5-44E1-6128-D52F-2586EB705ADC}"/>
              </a:ext>
            </a:extLst>
          </p:cNvPr>
          <p:cNvSpPr>
            <a:spLocks noGrp="1"/>
          </p:cNvSpPr>
          <p:nvPr>
            <p:ph type="body" sz="quarter" idx="15"/>
          </p:nvPr>
        </p:nvSpPr>
        <p:spPr/>
        <p:txBody>
          <a:bodyPr lIns="91440" tIns="45720" rIns="91440" bIns="45720" anchor="t"/>
          <a:lstStyle/>
          <a:p>
            <a:r>
              <a:rPr lang="en-US"/>
              <a:t>Establishing the Foundation: Baseline and Benchmark Models</a:t>
            </a:r>
          </a:p>
        </p:txBody>
      </p:sp>
      <p:sp>
        <p:nvSpPr>
          <p:cNvPr id="26" name="Textplatzhalter 2">
            <a:extLst>
              <a:ext uri="{FF2B5EF4-FFF2-40B4-BE49-F238E27FC236}">
                <a16:creationId xmlns:a16="http://schemas.microsoft.com/office/drawing/2014/main" id="{CBA1AAD0-6D7B-083C-8A3C-4D9FC143648D}"/>
              </a:ext>
            </a:extLst>
          </p:cNvPr>
          <p:cNvSpPr txBox="1">
            <a:spLocks/>
          </p:cNvSpPr>
          <p:nvPr/>
        </p:nvSpPr>
        <p:spPr>
          <a:xfrm>
            <a:off x="1459465" y="1538612"/>
            <a:ext cx="2286891" cy="614289"/>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50000"/>
              </a:lnSpc>
            </a:pPr>
            <a:r>
              <a:rPr lang="en-US" b="1" kern="0" err="1">
                <a:ea typeface="+mj-lt"/>
                <a:cs typeface="+mj-lt"/>
              </a:rPr>
              <a:t>Basline</a:t>
            </a:r>
            <a:endParaRPr lang="en-US" b="1"/>
          </a:p>
        </p:txBody>
      </p:sp>
      <p:sp>
        <p:nvSpPr>
          <p:cNvPr id="28" name="Oval 27">
            <a:extLst>
              <a:ext uri="{FF2B5EF4-FFF2-40B4-BE49-F238E27FC236}">
                <a16:creationId xmlns:a16="http://schemas.microsoft.com/office/drawing/2014/main" id="{4AAA4E85-0F92-1C8E-A8D9-E229FF14AF51}"/>
              </a:ext>
            </a:extLst>
          </p:cNvPr>
          <p:cNvSpPr>
            <a:spLocks noChangeAspect="1"/>
          </p:cNvSpPr>
          <p:nvPr/>
        </p:nvSpPr>
        <p:spPr>
          <a:xfrm>
            <a:off x="8405132" y="2325331"/>
            <a:ext cx="279681" cy="273316"/>
          </a:xfrm>
          <a:prstGeom prst="ellipse">
            <a:avLst/>
          </a:prstGeom>
          <a:solidFill>
            <a:schemeClr val="accent5">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29" name="Textplatzhalter 2">
            <a:extLst>
              <a:ext uri="{FF2B5EF4-FFF2-40B4-BE49-F238E27FC236}">
                <a16:creationId xmlns:a16="http://schemas.microsoft.com/office/drawing/2014/main" id="{7108B188-BE1D-4E7E-C7B4-5C45F5300EB8}"/>
              </a:ext>
            </a:extLst>
          </p:cNvPr>
          <p:cNvSpPr txBox="1">
            <a:spLocks/>
          </p:cNvSpPr>
          <p:nvPr/>
        </p:nvSpPr>
        <p:spPr>
          <a:xfrm>
            <a:off x="7205327" y="1531714"/>
            <a:ext cx="2699120" cy="622662"/>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50000"/>
              </a:lnSpc>
            </a:pPr>
            <a:r>
              <a:rPr lang="en-US" b="1" kern="0">
                <a:ea typeface="+mj-lt"/>
                <a:cs typeface="+mj-lt"/>
              </a:rPr>
              <a:t>Benchmark </a:t>
            </a:r>
            <a:endParaRPr lang="en-US" b="1"/>
          </a:p>
        </p:txBody>
      </p:sp>
      <p:sp>
        <p:nvSpPr>
          <p:cNvPr id="4" name="Textplatzhalter 2">
            <a:extLst>
              <a:ext uri="{FF2B5EF4-FFF2-40B4-BE49-F238E27FC236}">
                <a16:creationId xmlns:a16="http://schemas.microsoft.com/office/drawing/2014/main" id="{029A1717-D749-9475-5E94-9E92A044E540}"/>
              </a:ext>
            </a:extLst>
          </p:cNvPr>
          <p:cNvSpPr txBox="1">
            <a:spLocks/>
          </p:cNvSpPr>
          <p:nvPr/>
        </p:nvSpPr>
        <p:spPr>
          <a:xfrm>
            <a:off x="462876" y="2716112"/>
            <a:ext cx="4071024" cy="2983829"/>
          </a:xfrm>
          <a:prstGeom prst="rect">
            <a:avLst/>
          </a:prstGeom>
          <a:solidFill>
            <a:schemeClr val="bg2"/>
          </a:solidFill>
          <a:ln>
            <a:solidFill>
              <a:schemeClr val="tx1"/>
            </a:solidFill>
          </a:ln>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marL="285750" indent="-285750">
              <a:lnSpc>
                <a:spcPct val="150000"/>
              </a:lnSpc>
              <a:buFont typeface="Arial,Sans-Serif"/>
              <a:buChar char="•"/>
            </a:pPr>
            <a:r>
              <a:rPr lang="en-US" kern="0"/>
              <a:t>Feature Extraction with 3 CNN Layers</a:t>
            </a:r>
          </a:p>
          <a:p>
            <a:pPr marL="285750" indent="-285750">
              <a:lnSpc>
                <a:spcPct val="150000"/>
              </a:lnSpc>
              <a:buFont typeface="Arial,Sans-Serif"/>
              <a:buChar char="•"/>
            </a:pPr>
            <a:r>
              <a:rPr lang="en-US" kern="0"/>
              <a:t>Preparational Flatten layer</a:t>
            </a:r>
          </a:p>
          <a:p>
            <a:pPr marL="285750" indent="-285750">
              <a:lnSpc>
                <a:spcPct val="150000"/>
              </a:lnSpc>
              <a:buFont typeface="Arial,Sans-Serif"/>
              <a:buChar char="•"/>
            </a:pPr>
            <a:r>
              <a:rPr lang="en-US" kern="0"/>
              <a:t>Dense layer with 128 units.</a:t>
            </a:r>
          </a:p>
          <a:p>
            <a:pPr marL="285750" indent="-285750">
              <a:lnSpc>
                <a:spcPct val="150000"/>
              </a:lnSpc>
              <a:buFont typeface="Arial,Sans-Serif"/>
              <a:buChar char="•"/>
            </a:pPr>
            <a:r>
              <a:rPr lang="en-US" kern="0"/>
              <a:t>Final layer for classification.</a:t>
            </a:r>
          </a:p>
          <a:p>
            <a:pPr marL="285750" indent="-285750">
              <a:lnSpc>
                <a:spcPct val="150000"/>
              </a:lnSpc>
              <a:buFont typeface="Arial,Sans-Serif"/>
              <a:buChar char="•"/>
            </a:pPr>
            <a:r>
              <a:rPr lang="en-US" b="1" kern="0"/>
              <a:t>Test Accuracy: 24.41%</a:t>
            </a:r>
          </a:p>
        </p:txBody>
      </p:sp>
      <p:pic>
        <p:nvPicPr>
          <p:cNvPr id="9" name="Picture 2" descr="A screenshot of a computer&#10;&#10;Description automatically generated">
            <a:extLst>
              <a:ext uri="{FF2B5EF4-FFF2-40B4-BE49-F238E27FC236}">
                <a16:creationId xmlns:a16="http://schemas.microsoft.com/office/drawing/2014/main" id="{E9CEA238-B81E-319D-BC72-90DD66C77DC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50826" y="1470857"/>
            <a:ext cx="1592863" cy="4112924"/>
          </a:xfrm>
          <a:prstGeom prst="rect">
            <a:avLst/>
          </a:prstGeom>
          <a:noFill/>
          <a:ln>
            <a:noFill/>
          </a:ln>
          <a:effectLst>
            <a:outerShdw blurRad="50800" dist="38100" dir="13500000" algn="b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 name="Picture 4">
            <a:extLst>
              <a:ext uri="{FF2B5EF4-FFF2-40B4-BE49-F238E27FC236}">
                <a16:creationId xmlns:a16="http://schemas.microsoft.com/office/drawing/2014/main" id="{42D0B01B-93D5-BEF5-A503-5E287F176C1D}"/>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894751" y="1420890"/>
            <a:ext cx="594360" cy="4113074"/>
          </a:xfrm>
          <a:prstGeom prst="rect">
            <a:avLst/>
          </a:prstGeom>
          <a:noFill/>
          <a:extLst>
            <a:ext uri="{909E8E84-426E-40DD-AFC4-6F175D3DCCD1}">
              <a14:hiddenFill xmlns:a14="http://schemas.microsoft.com/office/drawing/2010/main">
                <a:solidFill>
                  <a:srgbClr val="FFFFFF"/>
                </a:solidFill>
              </a14:hiddenFill>
            </a:ext>
          </a:extLst>
        </p:spPr>
      </p:pic>
      <p:sp>
        <p:nvSpPr>
          <p:cNvPr id="14" name="Textplatzhalter 2">
            <a:extLst>
              <a:ext uri="{FF2B5EF4-FFF2-40B4-BE49-F238E27FC236}">
                <a16:creationId xmlns:a16="http://schemas.microsoft.com/office/drawing/2014/main" id="{13AEE1E3-9434-EEFC-CDD7-0C263209BA0C}"/>
              </a:ext>
            </a:extLst>
          </p:cNvPr>
          <p:cNvSpPr txBox="1">
            <a:spLocks/>
          </p:cNvSpPr>
          <p:nvPr/>
        </p:nvSpPr>
        <p:spPr>
          <a:xfrm>
            <a:off x="6489553" y="2716112"/>
            <a:ext cx="4071024" cy="2983829"/>
          </a:xfrm>
          <a:prstGeom prst="rect">
            <a:avLst/>
          </a:prstGeom>
          <a:solidFill>
            <a:schemeClr val="bg2"/>
          </a:solidFill>
          <a:ln>
            <a:solidFill>
              <a:schemeClr val="tx1"/>
            </a:solidFill>
          </a:ln>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marL="285750" indent="-285750">
              <a:lnSpc>
                <a:spcPct val="150000"/>
              </a:lnSpc>
              <a:buFont typeface="Arial,Sans-Serif"/>
              <a:buChar char="•"/>
            </a:pPr>
            <a:r>
              <a:rPr lang="en-US" kern="0"/>
              <a:t>Feature Extract with multiple CNN Layers </a:t>
            </a:r>
          </a:p>
          <a:p>
            <a:pPr marL="285750" indent="-285750">
              <a:lnSpc>
                <a:spcPct val="150000"/>
              </a:lnSpc>
              <a:buFont typeface="Arial,Sans-Serif"/>
              <a:buChar char="•"/>
            </a:pPr>
            <a:r>
              <a:rPr lang="en-US" kern="0"/>
              <a:t>Max pooling layers to reduce dimensions. </a:t>
            </a:r>
          </a:p>
          <a:p>
            <a:pPr marL="285750" indent="-285750">
              <a:lnSpc>
                <a:spcPct val="150000"/>
              </a:lnSpc>
              <a:buFont typeface="Arial,Sans-Serif"/>
              <a:buChar char="•"/>
            </a:pPr>
            <a:r>
              <a:rPr lang="en-US" kern="0"/>
              <a:t>Preparational flatten layer. </a:t>
            </a:r>
          </a:p>
          <a:p>
            <a:pPr marL="285750" indent="-285750">
              <a:lnSpc>
                <a:spcPct val="150000"/>
              </a:lnSpc>
              <a:buFont typeface="Arial,Sans-Serif"/>
              <a:buChar char="•"/>
            </a:pPr>
            <a:r>
              <a:rPr lang="en-US" kern="0"/>
              <a:t>2 Dense Layers with dropout </a:t>
            </a:r>
          </a:p>
          <a:p>
            <a:pPr marL="285750" indent="-285750">
              <a:lnSpc>
                <a:spcPct val="150000"/>
              </a:lnSpc>
              <a:buFont typeface="Arial,Sans-Serif"/>
              <a:buChar char="•"/>
            </a:pPr>
            <a:r>
              <a:rPr lang="en-US" kern="0"/>
              <a:t>Final layer for classification. </a:t>
            </a:r>
            <a:endParaRPr lang="en-US"/>
          </a:p>
          <a:p>
            <a:pPr marL="285750" indent="-285750">
              <a:lnSpc>
                <a:spcPct val="150000"/>
              </a:lnSpc>
              <a:buFont typeface="Arial,Sans-Serif"/>
              <a:buChar char="•"/>
            </a:pPr>
            <a:r>
              <a:rPr lang="en-US" b="1" kern="0"/>
              <a:t>Test Accuracy: 60.35% </a:t>
            </a:r>
          </a:p>
        </p:txBody>
      </p:sp>
      <p:sp>
        <p:nvSpPr>
          <p:cNvPr id="8" name="Oval 24">
            <a:extLst>
              <a:ext uri="{FF2B5EF4-FFF2-40B4-BE49-F238E27FC236}">
                <a16:creationId xmlns:a16="http://schemas.microsoft.com/office/drawing/2014/main" id="{6595A55F-4D30-596B-74B3-37AB4A8536E6}"/>
              </a:ext>
            </a:extLst>
          </p:cNvPr>
          <p:cNvSpPr>
            <a:spLocks noChangeAspect="1"/>
          </p:cNvSpPr>
          <p:nvPr/>
        </p:nvSpPr>
        <p:spPr>
          <a:xfrm>
            <a:off x="2463071" y="2325331"/>
            <a:ext cx="279681" cy="273316"/>
          </a:xfrm>
          <a:prstGeom prst="ellipse">
            <a:avLst/>
          </a:prstGeom>
          <a:solidFill>
            <a:schemeClr val="tx1">
              <a:lumMod val="50000"/>
              <a:lumOff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pic>
        <p:nvPicPr>
          <p:cNvPr id="7" name="Picture 2" descr="Red Circle Hand Written">
            <a:extLst>
              <a:ext uri="{FF2B5EF4-FFF2-40B4-BE49-F238E27FC236}">
                <a16:creationId xmlns:a16="http://schemas.microsoft.com/office/drawing/2014/main" id="{262B485D-8150-ADAB-1A87-7C0D0602628F}"/>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17892" y="4725962"/>
            <a:ext cx="1027725" cy="46165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Red Circle Hand Written">
            <a:extLst>
              <a:ext uri="{FF2B5EF4-FFF2-40B4-BE49-F238E27FC236}">
                <a16:creationId xmlns:a16="http://schemas.microsoft.com/office/drawing/2014/main" id="{1481F1F2-A3BF-7D23-E1EC-FA86994CD4D6}"/>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48195" y="5303134"/>
            <a:ext cx="1027725" cy="46165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AB297CE0-045B-083F-12FA-1FF68AF3062E}"/>
              </a:ext>
            </a:extLst>
          </p:cNvPr>
          <p:cNvPicPr>
            <a:picLocks noChangeAspect="1"/>
          </p:cNvPicPr>
          <p:nvPr/>
        </p:nvPicPr>
        <p:blipFill>
          <a:blip r:embed="rId9">
            <a:extLst>
              <a:ext uri="{28A0092B-C50C-407E-A947-70E740481C1C}">
                <a14:useLocalDpi xmlns:a14="http://schemas.microsoft.com/office/drawing/2010/main" val="0"/>
              </a:ext>
            </a:extLst>
          </a:blip>
          <a:srcRect l="316" r="316"/>
          <a:stretch/>
        </p:blipFill>
        <p:spPr>
          <a:xfrm>
            <a:off x="9789973" y="4947168"/>
            <a:ext cx="718902" cy="718902"/>
          </a:xfrm>
          <a:prstGeom prst="ellipse">
            <a:avLst/>
          </a:prstGeom>
        </p:spPr>
      </p:pic>
      <p:sp>
        <p:nvSpPr>
          <p:cNvPr id="13" name="Textplatzhalter 2">
            <a:extLst>
              <a:ext uri="{FF2B5EF4-FFF2-40B4-BE49-F238E27FC236}">
                <a16:creationId xmlns:a16="http://schemas.microsoft.com/office/drawing/2014/main" id="{A14E1D48-5F59-BFBE-619E-006F1237D0E8}"/>
              </a:ext>
            </a:extLst>
          </p:cNvPr>
          <p:cNvSpPr txBox="1">
            <a:spLocks/>
          </p:cNvSpPr>
          <p:nvPr/>
        </p:nvSpPr>
        <p:spPr>
          <a:xfrm>
            <a:off x="7175505" y="1839327"/>
            <a:ext cx="2699120" cy="622662"/>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00000"/>
              </a:lnSpc>
            </a:pPr>
            <a:r>
              <a:rPr lang="en-US" sz="1050" i="1" kern="0" err="1">
                <a:ea typeface="+mj-lt"/>
                <a:cs typeface="+mj-lt"/>
              </a:rPr>
              <a:t>CellVision</a:t>
            </a:r>
            <a:r>
              <a:rPr lang="en-US" sz="1050" i="1" kern="0">
                <a:ea typeface="+mj-lt"/>
                <a:cs typeface="+mj-lt"/>
              </a:rPr>
              <a:t> Diagnostics </a:t>
            </a:r>
            <a:endParaRPr lang="en-US" sz="1050" i="1"/>
          </a:p>
        </p:txBody>
      </p:sp>
    </p:spTree>
    <p:extLst>
      <p:ext uri="{BB962C8B-B14F-4D97-AF65-F5344CB8AC3E}">
        <p14:creationId xmlns:p14="http://schemas.microsoft.com/office/powerpoint/2010/main" val="297062948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Diagram 38">
            <a:extLst>
              <a:ext uri="{FF2B5EF4-FFF2-40B4-BE49-F238E27FC236}">
                <a16:creationId xmlns:a16="http://schemas.microsoft.com/office/drawing/2014/main" id="{DA0A86B0-0CE2-40A9-A1B7-234403706DDF}"/>
              </a:ext>
            </a:extLst>
          </p:cNvPr>
          <p:cNvGraphicFramePr/>
          <p:nvPr>
            <p:extLst>
              <p:ext uri="{D42A27DB-BD31-4B8C-83A1-F6EECF244321}">
                <p14:modId xmlns:p14="http://schemas.microsoft.com/office/powerpoint/2010/main" val="2996340975"/>
              </p:ext>
            </p:extLst>
          </p:nvPr>
        </p:nvGraphicFramePr>
        <p:xfrm>
          <a:off x="4486694" y="2234061"/>
          <a:ext cx="2427225" cy="40813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35" name="Straight Arrow Connector 34">
            <a:extLst>
              <a:ext uri="{FF2B5EF4-FFF2-40B4-BE49-F238E27FC236}">
                <a16:creationId xmlns:a16="http://schemas.microsoft.com/office/drawing/2014/main" id="{EFCB2A8B-77BE-8B08-08BA-08A914A85658}"/>
              </a:ext>
            </a:extLst>
          </p:cNvPr>
          <p:cNvCxnSpPr>
            <a:cxnSpLocks/>
          </p:cNvCxnSpPr>
          <p:nvPr/>
        </p:nvCxnSpPr>
        <p:spPr>
          <a:xfrm flipV="1">
            <a:off x="-213360" y="2472110"/>
            <a:ext cx="12618720" cy="9993"/>
          </a:xfrm>
          <a:prstGeom prst="straightConnector1">
            <a:avLst/>
          </a:prstGeom>
          <a:noFill/>
          <a:ln w="57150" cap="flat">
            <a:solidFill>
              <a:schemeClr val="tx1"/>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2" name="Textplatzhalter 1">
            <a:extLst>
              <a:ext uri="{FF2B5EF4-FFF2-40B4-BE49-F238E27FC236}">
                <a16:creationId xmlns:a16="http://schemas.microsoft.com/office/drawing/2014/main" id="{F7857DC1-B240-2014-FF35-005F90715DFD}"/>
              </a:ext>
            </a:extLst>
          </p:cNvPr>
          <p:cNvSpPr>
            <a:spLocks noGrp="1"/>
          </p:cNvSpPr>
          <p:nvPr>
            <p:ph type="body" sz="quarter" idx="14"/>
          </p:nvPr>
        </p:nvSpPr>
        <p:spPr/>
        <p:txBody>
          <a:bodyPr lIns="91440" tIns="45720" rIns="91440" bIns="45720" anchor="t"/>
          <a:lstStyle/>
          <a:p>
            <a:r>
              <a:rPr lang="en-US"/>
              <a:t>Modeling – Transfer Learning</a:t>
            </a:r>
          </a:p>
        </p:txBody>
      </p:sp>
      <p:sp>
        <p:nvSpPr>
          <p:cNvPr id="3" name="Textplatzhalter 2">
            <a:extLst>
              <a:ext uri="{FF2B5EF4-FFF2-40B4-BE49-F238E27FC236}">
                <a16:creationId xmlns:a16="http://schemas.microsoft.com/office/drawing/2014/main" id="{281105C5-44E1-6128-D52F-2586EB705ADC}"/>
              </a:ext>
            </a:extLst>
          </p:cNvPr>
          <p:cNvSpPr>
            <a:spLocks noGrp="1"/>
          </p:cNvSpPr>
          <p:nvPr>
            <p:ph type="body" sz="quarter" idx="15"/>
          </p:nvPr>
        </p:nvSpPr>
        <p:spPr/>
        <p:txBody>
          <a:bodyPr lIns="91440" tIns="45720" rIns="91440" bIns="45720" anchor="t"/>
          <a:lstStyle/>
          <a:p>
            <a:r>
              <a:rPr lang="en-US"/>
              <a:t>Leveraging Pre-Trained Models: Exploring Transfer Learning</a:t>
            </a:r>
          </a:p>
        </p:txBody>
      </p:sp>
      <p:sp>
        <p:nvSpPr>
          <p:cNvPr id="26" name="Textplatzhalter 2">
            <a:extLst>
              <a:ext uri="{FF2B5EF4-FFF2-40B4-BE49-F238E27FC236}">
                <a16:creationId xmlns:a16="http://schemas.microsoft.com/office/drawing/2014/main" id="{CBA1AAD0-6D7B-083C-8A3C-4D9FC143648D}"/>
              </a:ext>
            </a:extLst>
          </p:cNvPr>
          <p:cNvSpPr txBox="1">
            <a:spLocks/>
          </p:cNvSpPr>
          <p:nvPr/>
        </p:nvSpPr>
        <p:spPr>
          <a:xfrm>
            <a:off x="1459465" y="1620546"/>
            <a:ext cx="2286891" cy="614289"/>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00000"/>
              </a:lnSpc>
            </a:pPr>
            <a:r>
              <a:rPr lang="en-US" b="1" kern="0">
                <a:ea typeface="+mj-lt"/>
                <a:cs typeface="+mj-lt"/>
              </a:rPr>
              <a:t>Model Exploration </a:t>
            </a:r>
            <a:endParaRPr lang="en-US" b="1">
              <a:ea typeface="+mj-lt"/>
              <a:cs typeface="+mj-lt"/>
            </a:endParaRPr>
          </a:p>
          <a:p>
            <a:pPr algn="ctr">
              <a:lnSpc>
                <a:spcPct val="100000"/>
              </a:lnSpc>
            </a:pPr>
            <a:r>
              <a:rPr lang="en-US" b="1" kern="0">
                <a:ea typeface="+mj-lt"/>
                <a:cs typeface="+mj-lt"/>
              </a:rPr>
              <a:t>&amp; Selection</a:t>
            </a:r>
            <a:endParaRPr lang="en-US" b="1"/>
          </a:p>
        </p:txBody>
      </p:sp>
      <p:sp>
        <p:nvSpPr>
          <p:cNvPr id="31" name="Textplatzhalter 2">
            <a:extLst>
              <a:ext uri="{FF2B5EF4-FFF2-40B4-BE49-F238E27FC236}">
                <a16:creationId xmlns:a16="http://schemas.microsoft.com/office/drawing/2014/main" id="{BF36CCF0-CC6B-3BDE-F23D-A5979DDC9B79}"/>
              </a:ext>
            </a:extLst>
          </p:cNvPr>
          <p:cNvSpPr txBox="1">
            <a:spLocks/>
          </p:cNvSpPr>
          <p:nvPr/>
        </p:nvSpPr>
        <p:spPr>
          <a:xfrm>
            <a:off x="8791787" y="1616359"/>
            <a:ext cx="2286891" cy="622662"/>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50000"/>
              </a:lnSpc>
            </a:pPr>
            <a:r>
              <a:rPr lang="en-US" b="1" kern="0"/>
              <a:t>Final Training</a:t>
            </a:r>
            <a:endParaRPr lang="en-US"/>
          </a:p>
        </p:txBody>
      </p:sp>
      <p:sp>
        <p:nvSpPr>
          <p:cNvPr id="33" name="Textplatzhalter 2">
            <a:extLst>
              <a:ext uri="{FF2B5EF4-FFF2-40B4-BE49-F238E27FC236}">
                <a16:creationId xmlns:a16="http://schemas.microsoft.com/office/drawing/2014/main" id="{C62E3ECD-E56C-A9A6-BC63-BE44E5A3AFC9}"/>
              </a:ext>
            </a:extLst>
          </p:cNvPr>
          <p:cNvSpPr txBox="1">
            <a:spLocks/>
          </p:cNvSpPr>
          <p:nvPr/>
        </p:nvSpPr>
        <p:spPr>
          <a:xfrm>
            <a:off x="4949660" y="1617197"/>
            <a:ext cx="2286891" cy="620987"/>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00000"/>
              </a:lnSpc>
            </a:pPr>
            <a:r>
              <a:rPr lang="en-US" b="1" kern="0">
                <a:ea typeface="+mj-lt"/>
                <a:cs typeface="+mj-lt"/>
              </a:rPr>
              <a:t>Bayesian Optimization</a:t>
            </a:r>
            <a:endParaRPr lang="en-US"/>
          </a:p>
        </p:txBody>
      </p:sp>
      <p:sp>
        <p:nvSpPr>
          <p:cNvPr id="45" name="Oval 44">
            <a:extLst>
              <a:ext uri="{FF2B5EF4-FFF2-40B4-BE49-F238E27FC236}">
                <a16:creationId xmlns:a16="http://schemas.microsoft.com/office/drawing/2014/main" id="{DED615AE-506A-D551-6E9C-3FE21CB2CD21}"/>
              </a:ext>
            </a:extLst>
          </p:cNvPr>
          <p:cNvSpPr>
            <a:spLocks noChangeAspect="1"/>
          </p:cNvSpPr>
          <p:nvPr/>
        </p:nvSpPr>
        <p:spPr>
          <a:xfrm>
            <a:off x="5956717" y="2325331"/>
            <a:ext cx="279681" cy="273316"/>
          </a:xfrm>
          <a:prstGeom prst="ellipse">
            <a:avLst/>
          </a:prstGeom>
          <a:solidFill>
            <a:srgbClr val="FFC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48" name="Oval 47">
            <a:extLst>
              <a:ext uri="{FF2B5EF4-FFF2-40B4-BE49-F238E27FC236}">
                <a16:creationId xmlns:a16="http://schemas.microsoft.com/office/drawing/2014/main" id="{555C60C6-3CDE-8906-2EF3-0CDB3CEC03E0}"/>
              </a:ext>
            </a:extLst>
          </p:cNvPr>
          <p:cNvSpPr>
            <a:spLocks noChangeAspect="1"/>
          </p:cNvSpPr>
          <p:nvPr/>
        </p:nvSpPr>
        <p:spPr>
          <a:xfrm>
            <a:off x="9793887" y="2325331"/>
            <a:ext cx="279681" cy="273316"/>
          </a:xfrm>
          <a:prstGeom prst="ellipse">
            <a:avLst/>
          </a:prstGeom>
          <a:solidFill>
            <a:srgbClr val="FFC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grpSp>
        <p:nvGrpSpPr>
          <p:cNvPr id="30" name="Group 29">
            <a:extLst>
              <a:ext uri="{FF2B5EF4-FFF2-40B4-BE49-F238E27FC236}">
                <a16:creationId xmlns:a16="http://schemas.microsoft.com/office/drawing/2014/main" id="{FD9F7FD3-7F1A-7964-62B6-B3A5AFA1CE4F}"/>
              </a:ext>
            </a:extLst>
          </p:cNvPr>
          <p:cNvGrpSpPr/>
          <p:nvPr/>
        </p:nvGrpSpPr>
        <p:grpSpPr>
          <a:xfrm>
            <a:off x="1513545" y="2660546"/>
            <a:ext cx="2204164" cy="3220334"/>
            <a:chOff x="964963" y="1570442"/>
            <a:chExt cx="2832890" cy="4039455"/>
          </a:xfrm>
        </p:grpSpPr>
        <p:sp>
          <p:nvSpPr>
            <p:cNvPr id="13" name="Preparation 19">
              <a:extLst>
                <a:ext uri="{FF2B5EF4-FFF2-40B4-BE49-F238E27FC236}">
                  <a16:creationId xmlns:a16="http://schemas.microsoft.com/office/drawing/2014/main" id="{1A7AD958-08BD-5608-7699-9E85C9170742}"/>
                </a:ext>
              </a:extLst>
            </p:cNvPr>
            <p:cNvSpPr/>
            <p:nvPr/>
          </p:nvSpPr>
          <p:spPr>
            <a:xfrm rot="5400000">
              <a:off x="964963" y="2375628"/>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tx1"/>
                  </a:solidFill>
                  <a:effectLst/>
                  <a:uFillTx/>
                  <a:latin typeface="+mn-lt"/>
                  <a:ea typeface="+mn-ea"/>
                  <a:cs typeface="+mn-cs"/>
                  <a:sym typeface="Helvetica Neue Medium"/>
                </a:rPr>
                <a:t>VGG16</a:t>
              </a:r>
            </a:p>
          </p:txBody>
        </p:sp>
        <p:sp>
          <p:nvSpPr>
            <p:cNvPr id="14" name="Preparation 20">
              <a:extLst>
                <a:ext uri="{FF2B5EF4-FFF2-40B4-BE49-F238E27FC236}">
                  <a16:creationId xmlns:a16="http://schemas.microsoft.com/office/drawing/2014/main" id="{B67BD304-2222-9B76-F4B4-DFB61F118885}"/>
                </a:ext>
              </a:extLst>
            </p:cNvPr>
            <p:cNvSpPr/>
            <p:nvPr/>
          </p:nvSpPr>
          <p:spPr>
            <a:xfrm rot="5400000">
              <a:off x="1956018" y="2375629"/>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algn="ctr" defTabSz="825500" hangingPunct="0"/>
              <a:r>
                <a:rPr lang="en-US" sz="800">
                  <a:sym typeface="Helvetica Neue Medium"/>
                </a:rPr>
                <a:t>VGG19</a:t>
              </a:r>
            </a:p>
          </p:txBody>
        </p:sp>
        <p:sp>
          <p:nvSpPr>
            <p:cNvPr id="15" name="Preparation 21">
              <a:extLst>
                <a:ext uri="{FF2B5EF4-FFF2-40B4-BE49-F238E27FC236}">
                  <a16:creationId xmlns:a16="http://schemas.microsoft.com/office/drawing/2014/main" id="{800DE3DA-AB2D-D413-D65B-825345196F66}"/>
                </a:ext>
              </a:extLst>
            </p:cNvPr>
            <p:cNvSpPr/>
            <p:nvPr/>
          </p:nvSpPr>
          <p:spPr>
            <a:xfrm rot="5400000">
              <a:off x="2947075" y="2375630"/>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tx1"/>
                  </a:solidFill>
                  <a:effectLst/>
                  <a:uFillTx/>
                  <a:latin typeface="+mn-lt"/>
                  <a:ea typeface="+mn-ea"/>
                  <a:cs typeface="+mn-cs"/>
                  <a:sym typeface="Helvetica Neue Medium"/>
                </a:rPr>
                <a:t>MobileNet V2</a:t>
              </a:r>
            </a:p>
          </p:txBody>
        </p:sp>
        <p:sp>
          <p:nvSpPr>
            <p:cNvPr id="16" name="Preparation 22">
              <a:extLst>
                <a:ext uri="{FF2B5EF4-FFF2-40B4-BE49-F238E27FC236}">
                  <a16:creationId xmlns:a16="http://schemas.microsoft.com/office/drawing/2014/main" id="{81F74921-946B-CE29-21AA-DD854BA22F9A}"/>
                </a:ext>
              </a:extLst>
            </p:cNvPr>
            <p:cNvSpPr/>
            <p:nvPr/>
          </p:nvSpPr>
          <p:spPr>
            <a:xfrm rot="5400000">
              <a:off x="1460491" y="3170125"/>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tx1"/>
                  </a:solidFill>
                  <a:effectLst/>
                  <a:uFillTx/>
                  <a:latin typeface="+mn-lt"/>
                  <a:ea typeface="+mn-ea"/>
                  <a:cs typeface="+mn-cs"/>
                  <a:sym typeface="Helvetica Neue Medium"/>
                </a:rPr>
                <a:t>Inception V3</a:t>
              </a:r>
            </a:p>
          </p:txBody>
        </p:sp>
        <p:sp>
          <p:nvSpPr>
            <p:cNvPr id="18" name="Preparation 23">
              <a:extLst>
                <a:ext uri="{FF2B5EF4-FFF2-40B4-BE49-F238E27FC236}">
                  <a16:creationId xmlns:a16="http://schemas.microsoft.com/office/drawing/2014/main" id="{FA3BD840-B111-B44F-71CB-BA9C5538F1D5}"/>
                </a:ext>
              </a:extLst>
            </p:cNvPr>
            <p:cNvSpPr/>
            <p:nvPr/>
          </p:nvSpPr>
          <p:spPr>
            <a:xfrm rot="5400000">
              <a:off x="2451546" y="3170125"/>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800" err="1">
                  <a:sym typeface="Helvetica Neue Medium"/>
                </a:rPr>
                <a:t>Xception</a:t>
              </a:r>
              <a:endParaRPr kumimoji="0" lang="en-US" sz="800" b="0" i="0" strike="noStrike" cap="none" spc="0" normalizeH="0" baseline="0">
                <a:ln>
                  <a:noFill/>
                </a:ln>
                <a:solidFill>
                  <a:schemeClr val="tx1"/>
                </a:solidFill>
                <a:effectLst/>
                <a:uFillTx/>
                <a:latin typeface="+mn-lt"/>
                <a:ea typeface="+mn-ea"/>
                <a:cs typeface="+mn-cs"/>
                <a:sym typeface="Helvetica Neue Medium"/>
              </a:endParaRPr>
            </a:p>
          </p:txBody>
        </p:sp>
        <p:sp>
          <p:nvSpPr>
            <p:cNvPr id="19" name="Preparation 24">
              <a:extLst>
                <a:ext uri="{FF2B5EF4-FFF2-40B4-BE49-F238E27FC236}">
                  <a16:creationId xmlns:a16="http://schemas.microsoft.com/office/drawing/2014/main" id="{36F74202-E077-B983-728A-11B6E47EC56B}"/>
                </a:ext>
              </a:extLst>
            </p:cNvPr>
            <p:cNvSpPr/>
            <p:nvPr/>
          </p:nvSpPr>
          <p:spPr>
            <a:xfrm rot="5400000">
              <a:off x="964963" y="3964621"/>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tx1"/>
                  </a:solidFill>
                  <a:effectLst/>
                  <a:uFillTx/>
                  <a:latin typeface="+mn-lt"/>
                  <a:ea typeface="+mn-ea"/>
                  <a:cs typeface="+mn-cs"/>
                  <a:sym typeface="Helvetica Neue Medium"/>
                </a:rPr>
                <a:t>ResNet50</a:t>
              </a:r>
            </a:p>
          </p:txBody>
        </p:sp>
        <p:sp>
          <p:nvSpPr>
            <p:cNvPr id="20" name="Preparation 25">
              <a:extLst>
                <a:ext uri="{FF2B5EF4-FFF2-40B4-BE49-F238E27FC236}">
                  <a16:creationId xmlns:a16="http://schemas.microsoft.com/office/drawing/2014/main" id="{14DAD1C3-F5FE-8C75-5490-D6A710F5CAE1}"/>
                </a:ext>
              </a:extLst>
            </p:cNvPr>
            <p:cNvSpPr/>
            <p:nvPr/>
          </p:nvSpPr>
          <p:spPr>
            <a:xfrm rot="5400000">
              <a:off x="1956018" y="3964622"/>
              <a:ext cx="850778" cy="850778"/>
            </a:xfrm>
            <a:prstGeom prst="flowChartPreparation">
              <a:avLst/>
            </a:prstGeom>
            <a:solidFill>
              <a:srgbClr val="CDEC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strike="noStrike" cap="none" spc="0" normalizeH="0" baseline="0">
                  <a:ln>
                    <a:noFill/>
                  </a:ln>
                  <a:solidFill>
                    <a:schemeClr val="tx1"/>
                  </a:solidFill>
                  <a:effectLst/>
                  <a:uFillTx/>
                  <a:latin typeface="+mn-lt"/>
                  <a:ea typeface="+mn-ea"/>
                  <a:cs typeface="+mn-cs"/>
                  <a:sym typeface="Helvetica Neue Medium"/>
                </a:rPr>
                <a:t>ResNet101</a:t>
              </a:r>
            </a:p>
          </p:txBody>
        </p:sp>
        <p:sp>
          <p:nvSpPr>
            <p:cNvPr id="21" name="Preparation 26">
              <a:extLst>
                <a:ext uri="{FF2B5EF4-FFF2-40B4-BE49-F238E27FC236}">
                  <a16:creationId xmlns:a16="http://schemas.microsoft.com/office/drawing/2014/main" id="{DDDDC95D-0FC0-9A20-ABE6-A71D5DB0EC7E}"/>
                </a:ext>
              </a:extLst>
            </p:cNvPr>
            <p:cNvSpPr/>
            <p:nvPr/>
          </p:nvSpPr>
          <p:spPr>
            <a:xfrm rot="5400000">
              <a:off x="2947075" y="3964623"/>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err="1">
                  <a:ln>
                    <a:noFill/>
                  </a:ln>
                  <a:solidFill>
                    <a:schemeClr val="tx1"/>
                  </a:solidFill>
                  <a:effectLst/>
                  <a:uFillTx/>
                  <a:latin typeface="+mn-lt"/>
                  <a:ea typeface="+mn-ea"/>
                  <a:cs typeface="+mn-cs"/>
                  <a:sym typeface="Helvetica Neue Medium"/>
                </a:rPr>
                <a:t>NASNet</a:t>
              </a:r>
              <a:r>
                <a:rPr kumimoji="0" lang="en-US" sz="800" b="0" i="0" u="none" strike="noStrike" cap="none" spc="0" normalizeH="0" baseline="0">
                  <a:ln>
                    <a:noFill/>
                  </a:ln>
                  <a:solidFill>
                    <a:schemeClr val="tx1"/>
                  </a:solidFill>
                  <a:effectLst/>
                  <a:uFillTx/>
                  <a:latin typeface="+mn-lt"/>
                  <a:ea typeface="+mn-ea"/>
                  <a:cs typeface="+mn-cs"/>
                  <a:sym typeface="Helvetica Neue Medium"/>
                </a:rPr>
                <a:t> Mobile</a:t>
              </a:r>
            </a:p>
          </p:txBody>
        </p:sp>
        <p:sp>
          <p:nvSpPr>
            <p:cNvPr id="22" name="Preparation 27">
              <a:extLst>
                <a:ext uri="{FF2B5EF4-FFF2-40B4-BE49-F238E27FC236}">
                  <a16:creationId xmlns:a16="http://schemas.microsoft.com/office/drawing/2014/main" id="{FF27DAC8-4584-1D63-EEE5-D164E92C2DC2}"/>
                </a:ext>
              </a:extLst>
            </p:cNvPr>
            <p:cNvSpPr/>
            <p:nvPr/>
          </p:nvSpPr>
          <p:spPr>
            <a:xfrm rot="5400000">
              <a:off x="1460491" y="4759119"/>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err="1">
                  <a:ln>
                    <a:noFill/>
                  </a:ln>
                  <a:solidFill>
                    <a:schemeClr val="tx1"/>
                  </a:solidFill>
                  <a:effectLst/>
                  <a:uFillTx/>
                  <a:latin typeface="+mn-lt"/>
                  <a:ea typeface="+mn-ea"/>
                  <a:cs typeface="+mn-cs"/>
                  <a:sym typeface="Helvetica Neue Medium"/>
                </a:rPr>
                <a:t>DenseNet</a:t>
              </a:r>
              <a:r>
                <a:rPr kumimoji="0" lang="en-US" sz="800" b="0" i="0" u="none" strike="noStrike" cap="none" spc="0" normalizeH="0" baseline="0">
                  <a:ln>
                    <a:noFill/>
                  </a:ln>
                  <a:solidFill>
                    <a:schemeClr val="tx1"/>
                  </a:solidFill>
                  <a:effectLst/>
                  <a:uFillTx/>
                  <a:latin typeface="+mn-lt"/>
                  <a:ea typeface="+mn-ea"/>
                  <a:cs typeface="+mn-cs"/>
                  <a:sym typeface="Helvetica Neue Medium"/>
                </a:rPr>
                <a:t> 121</a:t>
              </a:r>
            </a:p>
          </p:txBody>
        </p:sp>
        <p:sp>
          <p:nvSpPr>
            <p:cNvPr id="23" name="Preparation 28">
              <a:extLst>
                <a:ext uri="{FF2B5EF4-FFF2-40B4-BE49-F238E27FC236}">
                  <a16:creationId xmlns:a16="http://schemas.microsoft.com/office/drawing/2014/main" id="{A2C77BEB-6EAF-763C-A110-C9DC2556F7BC}"/>
                </a:ext>
              </a:extLst>
            </p:cNvPr>
            <p:cNvSpPr/>
            <p:nvPr/>
          </p:nvSpPr>
          <p:spPr>
            <a:xfrm rot="5400000">
              <a:off x="2451546" y="4759119"/>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strike="noStrike" cap="none" spc="0" normalizeH="0" baseline="0">
                  <a:ln>
                    <a:noFill/>
                  </a:ln>
                  <a:solidFill>
                    <a:schemeClr val="tx1"/>
                  </a:solidFill>
                  <a:effectLst/>
                  <a:uFillTx/>
                  <a:latin typeface="+mn-lt"/>
                  <a:ea typeface="+mn-ea"/>
                  <a:cs typeface="+mn-cs"/>
                  <a:sym typeface="Helvetica Neue Medium"/>
                </a:rPr>
                <a:t>EfficientNetB0</a:t>
              </a:r>
            </a:p>
          </p:txBody>
        </p:sp>
        <p:sp>
          <p:nvSpPr>
            <p:cNvPr id="24" name="Preparation 62">
              <a:extLst>
                <a:ext uri="{FF2B5EF4-FFF2-40B4-BE49-F238E27FC236}">
                  <a16:creationId xmlns:a16="http://schemas.microsoft.com/office/drawing/2014/main" id="{D9C4DE20-915D-7DE3-DE3D-B5596656F59E}"/>
                </a:ext>
              </a:extLst>
            </p:cNvPr>
            <p:cNvSpPr/>
            <p:nvPr/>
          </p:nvSpPr>
          <p:spPr>
            <a:xfrm rot="5400000">
              <a:off x="1460491" y="1570442"/>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tx1"/>
                  </a:solidFill>
                  <a:effectLst/>
                  <a:uFillTx/>
                  <a:latin typeface="+mn-lt"/>
                  <a:ea typeface="+mn-ea"/>
                  <a:cs typeface="+mn-cs"/>
                  <a:sym typeface="Helvetica Neue Medium"/>
                </a:rPr>
                <a:t>Baseline CNN</a:t>
              </a:r>
            </a:p>
          </p:txBody>
        </p:sp>
        <p:sp>
          <p:nvSpPr>
            <p:cNvPr id="27" name="Preparation 63">
              <a:extLst>
                <a:ext uri="{FF2B5EF4-FFF2-40B4-BE49-F238E27FC236}">
                  <a16:creationId xmlns:a16="http://schemas.microsoft.com/office/drawing/2014/main" id="{18A7B58D-57D9-6987-7FAB-B920FBE85EEE}"/>
                </a:ext>
              </a:extLst>
            </p:cNvPr>
            <p:cNvSpPr/>
            <p:nvPr/>
          </p:nvSpPr>
          <p:spPr>
            <a:xfrm rot="5400000">
              <a:off x="2451546" y="1570442"/>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strike="noStrike" cap="none" spc="0" normalizeH="0" baseline="0">
                  <a:ln>
                    <a:noFill/>
                  </a:ln>
                  <a:solidFill>
                    <a:schemeClr val="tx1"/>
                  </a:solidFill>
                  <a:effectLst/>
                  <a:uFillTx/>
                  <a:latin typeface="+mn-lt"/>
                  <a:ea typeface="+mn-ea"/>
                  <a:cs typeface="+mn-cs"/>
                  <a:sym typeface="Helvetica Neue Medium"/>
                </a:rPr>
                <a:t>Benchmark CNN</a:t>
              </a:r>
            </a:p>
          </p:txBody>
        </p:sp>
      </p:grpSp>
      <p:sp>
        <p:nvSpPr>
          <p:cNvPr id="25" name="Oval 24">
            <a:extLst>
              <a:ext uri="{FF2B5EF4-FFF2-40B4-BE49-F238E27FC236}">
                <a16:creationId xmlns:a16="http://schemas.microsoft.com/office/drawing/2014/main" id="{AF50A492-B016-E8BE-92C2-E5C7EC0C2F59}"/>
              </a:ext>
            </a:extLst>
          </p:cNvPr>
          <p:cNvSpPr>
            <a:spLocks noChangeAspect="1"/>
          </p:cNvSpPr>
          <p:nvPr/>
        </p:nvSpPr>
        <p:spPr>
          <a:xfrm>
            <a:off x="2463071" y="2325331"/>
            <a:ext cx="279681" cy="273316"/>
          </a:xfrm>
          <a:prstGeom prst="ellipse">
            <a:avLst/>
          </a:prstGeom>
          <a:solidFill>
            <a:srgbClr val="FFC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graphicFrame>
        <p:nvGraphicFramePr>
          <p:cNvPr id="62" name="Diagram 61">
            <a:extLst>
              <a:ext uri="{FF2B5EF4-FFF2-40B4-BE49-F238E27FC236}">
                <a16:creationId xmlns:a16="http://schemas.microsoft.com/office/drawing/2014/main" id="{C949489E-A3AC-18FE-5AEA-B3B090AFAE65}"/>
              </a:ext>
            </a:extLst>
          </p:cNvPr>
          <p:cNvGraphicFramePr/>
          <p:nvPr>
            <p:extLst>
              <p:ext uri="{D42A27DB-BD31-4B8C-83A1-F6EECF244321}">
                <p14:modId xmlns:p14="http://schemas.microsoft.com/office/powerpoint/2010/main" val="2992857666"/>
              </p:ext>
            </p:extLst>
          </p:nvPr>
        </p:nvGraphicFramePr>
        <p:xfrm>
          <a:off x="8167499" y="2729245"/>
          <a:ext cx="3563577" cy="29273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19" name="TextBox 318">
            <a:extLst>
              <a:ext uri="{FF2B5EF4-FFF2-40B4-BE49-F238E27FC236}">
                <a16:creationId xmlns:a16="http://schemas.microsoft.com/office/drawing/2014/main" id="{95D89A19-4998-19C9-FE10-FB6A57BE639B}"/>
              </a:ext>
            </a:extLst>
          </p:cNvPr>
          <p:cNvSpPr txBox="1"/>
          <p:nvPr/>
        </p:nvSpPr>
        <p:spPr>
          <a:xfrm>
            <a:off x="7236551" y="2507951"/>
            <a:ext cx="670608"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600" i="0" strike="noStrike" cap="none" spc="0" normalizeH="0" baseline="0">
                <a:ln>
                  <a:noFill/>
                </a:ln>
                <a:solidFill>
                  <a:srgbClr val="000000"/>
                </a:solidFill>
                <a:effectLst/>
                <a:uFillTx/>
                <a:latin typeface="Helvetica Neue"/>
                <a:ea typeface="Helvetica Neue"/>
                <a:cs typeface="Helvetica Neue"/>
                <a:sym typeface="Helvetica Neue"/>
              </a:rPr>
              <a:t>Grid</a:t>
            </a:r>
            <a:endParaRPr lang="en-US" sz="1600" i="0" strike="noStrike" cap="none" spc="0" normalizeH="0" baseline="0">
              <a:ln>
                <a:noFill/>
              </a:ln>
              <a:solidFill>
                <a:srgbClr val="000000"/>
              </a:solidFill>
              <a:effectLst/>
              <a:uFillTx/>
              <a:latin typeface="Helvetica Neue"/>
              <a:ea typeface="Helvetica Neue"/>
              <a:cs typeface="Helvetica Neue"/>
            </a:endParaRPr>
          </a:p>
        </p:txBody>
      </p:sp>
      <p:graphicFrame>
        <p:nvGraphicFramePr>
          <p:cNvPr id="321" name="Table 320">
            <a:extLst>
              <a:ext uri="{FF2B5EF4-FFF2-40B4-BE49-F238E27FC236}">
                <a16:creationId xmlns:a16="http://schemas.microsoft.com/office/drawing/2014/main" id="{4EC4A380-33EE-E608-DFC4-151D4DE1672A}"/>
              </a:ext>
            </a:extLst>
          </p:cNvPr>
          <p:cNvGraphicFramePr>
            <a:graphicFrameLocks noGrp="1"/>
          </p:cNvGraphicFramePr>
          <p:nvPr>
            <p:extLst>
              <p:ext uri="{D42A27DB-BD31-4B8C-83A1-F6EECF244321}">
                <p14:modId xmlns:p14="http://schemas.microsoft.com/office/powerpoint/2010/main" val="4093024958"/>
              </p:ext>
            </p:extLst>
          </p:nvPr>
        </p:nvGraphicFramePr>
        <p:xfrm>
          <a:off x="7056541" y="2839854"/>
          <a:ext cx="1114425" cy="2857683"/>
        </p:xfrm>
        <a:graphic>
          <a:graphicData uri="http://schemas.openxmlformats.org/drawingml/2006/table">
            <a:tbl>
              <a:tblPr bandRow="1">
                <a:tableStyleId>{5C22544A-7EE6-4342-B048-85BDC9FD1C3A}</a:tableStyleId>
              </a:tblPr>
              <a:tblGrid>
                <a:gridCol w="1114425">
                  <a:extLst>
                    <a:ext uri="{9D8B030D-6E8A-4147-A177-3AD203B41FA5}">
                      <a16:colId xmlns:a16="http://schemas.microsoft.com/office/drawing/2014/main" val="1861306617"/>
                    </a:ext>
                  </a:extLst>
                </a:gridCol>
              </a:tblGrid>
              <a:tr h="952561">
                <a:tc>
                  <a:txBody>
                    <a:bodyPr/>
                    <a:lstStyle/>
                    <a:p>
                      <a:pPr algn="ctr" fontAlgn="base"/>
                      <a:r>
                        <a:rPr lang="en-US" sz="1200" b="0">
                          <a:solidFill>
                            <a:srgbClr val="000000"/>
                          </a:solidFill>
                          <a:effectLst/>
                          <a:highlight>
                            <a:srgbClr val="D5D5D5"/>
                          </a:highlight>
                          <a:latin typeface="Helvetica Neu"/>
                        </a:rPr>
                        <a:t>[0.5, None]</a:t>
                      </a:r>
                      <a:endParaRPr lang="en-US" b="1">
                        <a:solidFill>
                          <a:srgbClr val="FFFFFF"/>
                        </a:solidFill>
                        <a:effectLst/>
                        <a:highlight>
                          <a:srgbClr val="D5D5D5"/>
                        </a:highligh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D5D5"/>
                    </a:solidFill>
                  </a:tcPr>
                </a:tc>
                <a:extLst>
                  <a:ext uri="{0D108BD9-81ED-4DB2-BD59-A6C34878D82A}">
                    <a16:rowId xmlns:a16="http://schemas.microsoft.com/office/drawing/2014/main" val="1251912818"/>
                  </a:ext>
                </a:extLst>
              </a:tr>
              <a:tr h="952561">
                <a:tc>
                  <a:txBody>
                    <a:bodyPr/>
                    <a:lstStyle/>
                    <a:p>
                      <a:pPr algn="ctr" fontAlgn="base"/>
                      <a:r>
                        <a:rPr lang="en-US" sz="1200">
                          <a:effectLst/>
                          <a:highlight>
                            <a:srgbClr val="D5D5D5"/>
                          </a:highlight>
                          <a:latin typeface="Helvetica Neu"/>
                        </a:rPr>
                        <a:t>[True, False]</a:t>
                      </a:r>
                      <a:endParaRPr lang="en-US">
                        <a:effectLst/>
                        <a:highlight>
                          <a:srgbClr val="D5D5D5"/>
                        </a:highligh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D5D5"/>
                    </a:solidFill>
                  </a:tcPr>
                </a:tc>
                <a:extLst>
                  <a:ext uri="{0D108BD9-81ED-4DB2-BD59-A6C34878D82A}">
                    <a16:rowId xmlns:a16="http://schemas.microsoft.com/office/drawing/2014/main" val="4096705479"/>
                  </a:ext>
                </a:extLst>
              </a:tr>
              <a:tr h="952561">
                <a:tc>
                  <a:txBody>
                    <a:bodyPr/>
                    <a:lstStyle/>
                    <a:p>
                      <a:pPr lvl="0" algn="ctr">
                        <a:buNone/>
                      </a:pPr>
                      <a:r>
                        <a:rPr lang="en-US" sz="1200">
                          <a:effectLst/>
                          <a:highlight>
                            <a:srgbClr val="D5D5D5"/>
                          </a:highlight>
                          <a:latin typeface="Helvetica Neu"/>
                        </a:rPr>
                        <a:t>[0.01, None]</a:t>
                      </a:r>
                      <a:endParaRPr lang="en-US"/>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D5D5"/>
                    </a:solidFill>
                  </a:tcPr>
                </a:tc>
                <a:extLst>
                  <a:ext uri="{0D108BD9-81ED-4DB2-BD59-A6C34878D82A}">
                    <a16:rowId xmlns:a16="http://schemas.microsoft.com/office/drawing/2014/main" val="324557126"/>
                  </a:ext>
                </a:extLst>
              </a:tr>
            </a:tbl>
          </a:graphicData>
        </a:graphic>
      </p:graphicFrame>
    </p:spTree>
    <p:extLst>
      <p:ext uri="{BB962C8B-B14F-4D97-AF65-F5344CB8AC3E}">
        <p14:creationId xmlns:p14="http://schemas.microsoft.com/office/powerpoint/2010/main" val="636850645"/>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Straight Arrow Connector 34">
            <a:extLst>
              <a:ext uri="{FF2B5EF4-FFF2-40B4-BE49-F238E27FC236}">
                <a16:creationId xmlns:a16="http://schemas.microsoft.com/office/drawing/2014/main" id="{EFCB2A8B-77BE-8B08-08BA-08A914A85658}"/>
              </a:ext>
            </a:extLst>
          </p:cNvPr>
          <p:cNvCxnSpPr/>
          <p:nvPr/>
        </p:nvCxnSpPr>
        <p:spPr>
          <a:xfrm flipV="1">
            <a:off x="-430688" y="2472110"/>
            <a:ext cx="12161520" cy="9993"/>
          </a:xfrm>
          <a:prstGeom prst="straightConnector1">
            <a:avLst/>
          </a:prstGeom>
          <a:noFill/>
          <a:ln w="57150" cap="flat">
            <a:solidFill>
              <a:schemeClr val="tx1"/>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2" name="Textplatzhalter 1">
            <a:extLst>
              <a:ext uri="{FF2B5EF4-FFF2-40B4-BE49-F238E27FC236}">
                <a16:creationId xmlns:a16="http://schemas.microsoft.com/office/drawing/2014/main" id="{F7857DC1-B240-2014-FF35-005F90715DFD}"/>
              </a:ext>
            </a:extLst>
          </p:cNvPr>
          <p:cNvSpPr>
            <a:spLocks noGrp="1"/>
          </p:cNvSpPr>
          <p:nvPr>
            <p:ph type="body" sz="quarter" idx="14"/>
          </p:nvPr>
        </p:nvSpPr>
        <p:spPr/>
        <p:txBody>
          <a:bodyPr lIns="91440" tIns="45720" rIns="91440" bIns="45720" anchor="t"/>
          <a:lstStyle/>
          <a:p>
            <a:r>
              <a:rPr lang="en-US"/>
              <a:t>Modeling – Transformer</a:t>
            </a:r>
          </a:p>
        </p:txBody>
      </p:sp>
      <p:sp>
        <p:nvSpPr>
          <p:cNvPr id="3" name="Textplatzhalter 2">
            <a:extLst>
              <a:ext uri="{FF2B5EF4-FFF2-40B4-BE49-F238E27FC236}">
                <a16:creationId xmlns:a16="http://schemas.microsoft.com/office/drawing/2014/main" id="{281105C5-44E1-6128-D52F-2586EB705ADC}"/>
              </a:ext>
            </a:extLst>
          </p:cNvPr>
          <p:cNvSpPr>
            <a:spLocks noGrp="1"/>
          </p:cNvSpPr>
          <p:nvPr>
            <p:ph type="body" sz="quarter" idx="15"/>
          </p:nvPr>
        </p:nvSpPr>
        <p:spPr>
          <a:xfrm>
            <a:off x="461168" y="1158059"/>
            <a:ext cx="11612880" cy="246221"/>
          </a:xfrm>
        </p:spPr>
        <p:txBody>
          <a:bodyPr lIns="91440" tIns="45720" rIns="91440" bIns="45720" anchor="t"/>
          <a:lstStyle/>
          <a:p>
            <a:r>
              <a:rPr lang="en-US">
                <a:ea typeface="+mj-lt"/>
                <a:cs typeface="+mj-lt"/>
              </a:rPr>
              <a:t>Further Boosting our Model’s Performance with a State-of-the-Art Transformer</a:t>
            </a:r>
          </a:p>
        </p:txBody>
      </p:sp>
      <p:sp>
        <p:nvSpPr>
          <p:cNvPr id="25" name="Oval 24">
            <a:extLst>
              <a:ext uri="{FF2B5EF4-FFF2-40B4-BE49-F238E27FC236}">
                <a16:creationId xmlns:a16="http://schemas.microsoft.com/office/drawing/2014/main" id="{AF50A492-B016-E8BE-92C2-E5C7EC0C2F59}"/>
              </a:ext>
            </a:extLst>
          </p:cNvPr>
          <p:cNvSpPr>
            <a:spLocks noChangeAspect="1"/>
          </p:cNvSpPr>
          <p:nvPr/>
        </p:nvSpPr>
        <p:spPr>
          <a:xfrm>
            <a:off x="2463071" y="2325331"/>
            <a:ext cx="279681" cy="273316"/>
          </a:xfrm>
          <a:prstGeom prst="ellipse">
            <a:avLst/>
          </a:prstGeom>
          <a:solidFill>
            <a:schemeClr val="accent3">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31" name="Textplatzhalter 2">
            <a:extLst>
              <a:ext uri="{FF2B5EF4-FFF2-40B4-BE49-F238E27FC236}">
                <a16:creationId xmlns:a16="http://schemas.microsoft.com/office/drawing/2014/main" id="{BF36CCF0-CC6B-3BDE-F23D-A5979DDC9B79}"/>
              </a:ext>
            </a:extLst>
          </p:cNvPr>
          <p:cNvSpPr txBox="1">
            <a:spLocks/>
          </p:cNvSpPr>
          <p:nvPr/>
        </p:nvSpPr>
        <p:spPr>
          <a:xfrm>
            <a:off x="8791787" y="1598762"/>
            <a:ext cx="2286891" cy="622662"/>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50000"/>
              </a:lnSpc>
            </a:pPr>
            <a:r>
              <a:rPr lang="en-US" b="1" kern="0"/>
              <a:t>Final Training</a:t>
            </a:r>
            <a:endParaRPr lang="en-US"/>
          </a:p>
        </p:txBody>
      </p:sp>
      <p:sp>
        <p:nvSpPr>
          <p:cNvPr id="45" name="Oval 44">
            <a:extLst>
              <a:ext uri="{FF2B5EF4-FFF2-40B4-BE49-F238E27FC236}">
                <a16:creationId xmlns:a16="http://schemas.microsoft.com/office/drawing/2014/main" id="{DED615AE-506A-D551-6E9C-3FE21CB2CD21}"/>
              </a:ext>
            </a:extLst>
          </p:cNvPr>
          <p:cNvSpPr>
            <a:spLocks noChangeAspect="1"/>
          </p:cNvSpPr>
          <p:nvPr/>
        </p:nvSpPr>
        <p:spPr>
          <a:xfrm>
            <a:off x="5956717" y="2325331"/>
            <a:ext cx="279681" cy="273316"/>
          </a:xfrm>
          <a:prstGeom prst="ellipse">
            <a:avLst/>
          </a:prstGeom>
          <a:solidFill>
            <a:schemeClr val="accent3">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48" name="Oval 47">
            <a:extLst>
              <a:ext uri="{FF2B5EF4-FFF2-40B4-BE49-F238E27FC236}">
                <a16:creationId xmlns:a16="http://schemas.microsoft.com/office/drawing/2014/main" id="{555C60C6-3CDE-8906-2EF3-0CDB3CEC03E0}"/>
              </a:ext>
            </a:extLst>
          </p:cNvPr>
          <p:cNvSpPr>
            <a:spLocks noChangeAspect="1"/>
          </p:cNvSpPr>
          <p:nvPr/>
        </p:nvSpPr>
        <p:spPr>
          <a:xfrm>
            <a:off x="9793887" y="2325331"/>
            <a:ext cx="279681" cy="273316"/>
          </a:xfrm>
          <a:prstGeom prst="ellipse">
            <a:avLst/>
          </a:prstGeom>
          <a:solidFill>
            <a:schemeClr val="accent3">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grpSp>
        <p:nvGrpSpPr>
          <p:cNvPr id="87" name="Group 86">
            <a:extLst>
              <a:ext uri="{FF2B5EF4-FFF2-40B4-BE49-F238E27FC236}">
                <a16:creationId xmlns:a16="http://schemas.microsoft.com/office/drawing/2014/main" id="{AEB9E155-99AB-3906-CFA3-9678631BBDEA}"/>
              </a:ext>
            </a:extLst>
          </p:cNvPr>
          <p:cNvGrpSpPr>
            <a:grpSpLocks noUngrp="1" noChangeAspect="1"/>
          </p:cNvGrpSpPr>
          <p:nvPr/>
        </p:nvGrpSpPr>
        <p:grpSpPr>
          <a:xfrm>
            <a:off x="1367989" y="3097606"/>
            <a:ext cx="2470222" cy="2179758"/>
            <a:chOff x="1460491" y="3964622"/>
            <a:chExt cx="1841833" cy="1645275"/>
          </a:xfrm>
        </p:grpSpPr>
        <p:sp>
          <p:nvSpPr>
            <p:cNvPr id="80" name="Preparation 25">
              <a:extLst>
                <a:ext uri="{FF2B5EF4-FFF2-40B4-BE49-F238E27FC236}">
                  <a16:creationId xmlns:a16="http://schemas.microsoft.com/office/drawing/2014/main" id="{9FB6CC80-4017-DD42-DC4B-E1DEE97D4812}"/>
                </a:ext>
              </a:extLst>
            </p:cNvPr>
            <p:cNvSpPr/>
            <p:nvPr/>
          </p:nvSpPr>
          <p:spPr>
            <a:xfrm rot="5400000">
              <a:off x="1956018" y="3964622"/>
              <a:ext cx="850778" cy="850778"/>
            </a:xfrm>
            <a:prstGeom prst="flowChartPreparation">
              <a:avLst/>
            </a:prstGeom>
            <a:solidFill>
              <a:srgbClr val="CDEC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algn="ctr" defTabSz="825500"/>
              <a:r>
                <a:rPr lang="en-US" sz="1200">
                  <a:ea typeface="+mn-lt"/>
                  <a:cs typeface="+mn-lt"/>
                  <a:sym typeface="Helvetica Neue Medium"/>
                </a:rPr>
                <a:t>Vision Transformer </a:t>
              </a:r>
              <a:endParaRPr lang="en-US" sz="1200"/>
            </a:p>
          </p:txBody>
        </p:sp>
        <p:sp>
          <p:nvSpPr>
            <p:cNvPr id="83" name="Preparation 27">
              <a:extLst>
                <a:ext uri="{FF2B5EF4-FFF2-40B4-BE49-F238E27FC236}">
                  <a16:creationId xmlns:a16="http://schemas.microsoft.com/office/drawing/2014/main" id="{5E1258DF-E2E8-5D3F-9E82-9E221EE2A4F7}"/>
                </a:ext>
              </a:extLst>
            </p:cNvPr>
            <p:cNvSpPr/>
            <p:nvPr/>
          </p:nvSpPr>
          <p:spPr>
            <a:xfrm rot="5400000">
              <a:off x="1460491" y="4759119"/>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algn="ctr" defTabSz="825500"/>
              <a:r>
                <a:rPr lang="en-US" sz="1200">
                  <a:solidFill>
                    <a:srgbClr val="000000"/>
                  </a:solidFill>
                  <a:ea typeface="+mn-lt"/>
                  <a:cs typeface="+mn-lt"/>
                </a:rPr>
                <a:t>Data-efficient Image Transformer</a:t>
              </a:r>
              <a:endParaRPr lang="en-US" sz="1200"/>
            </a:p>
          </p:txBody>
        </p:sp>
        <p:sp>
          <p:nvSpPr>
            <p:cNvPr id="84" name="Preparation 28">
              <a:extLst>
                <a:ext uri="{FF2B5EF4-FFF2-40B4-BE49-F238E27FC236}">
                  <a16:creationId xmlns:a16="http://schemas.microsoft.com/office/drawing/2014/main" id="{93E5E6EE-7AB2-98BF-52D7-F23189B67AFC}"/>
                </a:ext>
              </a:extLst>
            </p:cNvPr>
            <p:cNvSpPr/>
            <p:nvPr/>
          </p:nvSpPr>
          <p:spPr>
            <a:xfrm rot="5400000">
              <a:off x="2451546" y="4759119"/>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algn="ctr" defTabSz="825500"/>
              <a:r>
                <a:rPr lang="en-US" sz="1200">
                  <a:sym typeface="Helvetica Neue Medium"/>
                </a:rPr>
                <a:t>Swin Transformer</a:t>
              </a:r>
              <a:endParaRPr lang="en-US" sz="1200"/>
            </a:p>
          </p:txBody>
        </p:sp>
      </p:grpSp>
      <p:graphicFrame>
        <p:nvGraphicFramePr>
          <p:cNvPr id="89" name="Diagram 88">
            <a:extLst>
              <a:ext uri="{FF2B5EF4-FFF2-40B4-BE49-F238E27FC236}">
                <a16:creationId xmlns:a16="http://schemas.microsoft.com/office/drawing/2014/main" id="{FE46E295-2118-0634-ED94-F5FADBA861C1}"/>
              </a:ext>
            </a:extLst>
          </p:cNvPr>
          <p:cNvGraphicFramePr/>
          <p:nvPr>
            <p:extLst>
              <p:ext uri="{D42A27DB-BD31-4B8C-83A1-F6EECF244321}">
                <p14:modId xmlns:p14="http://schemas.microsoft.com/office/powerpoint/2010/main" val="2528351666"/>
              </p:ext>
            </p:extLst>
          </p:nvPr>
        </p:nvGraphicFramePr>
        <p:xfrm>
          <a:off x="4486694" y="2234061"/>
          <a:ext cx="2427225" cy="40813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0" name="TextBox 89">
            <a:extLst>
              <a:ext uri="{FF2B5EF4-FFF2-40B4-BE49-F238E27FC236}">
                <a16:creationId xmlns:a16="http://schemas.microsoft.com/office/drawing/2014/main" id="{1394C2F8-B009-AF24-F428-4E4518A2D4D1}"/>
              </a:ext>
            </a:extLst>
          </p:cNvPr>
          <p:cNvSpPr txBox="1"/>
          <p:nvPr/>
        </p:nvSpPr>
        <p:spPr>
          <a:xfrm>
            <a:off x="7236551" y="2507951"/>
            <a:ext cx="670608"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600" i="0" strike="noStrike" cap="none" spc="0" normalizeH="0" baseline="0">
                <a:ln>
                  <a:noFill/>
                </a:ln>
                <a:solidFill>
                  <a:srgbClr val="000000"/>
                </a:solidFill>
                <a:effectLst/>
                <a:uFillTx/>
                <a:latin typeface="Helvetica Neue"/>
                <a:ea typeface="Helvetica Neue"/>
                <a:cs typeface="Helvetica Neue"/>
                <a:sym typeface="Helvetica Neue"/>
              </a:rPr>
              <a:t>Grid</a:t>
            </a:r>
            <a:endParaRPr lang="en-US" sz="1600" i="0" strike="noStrike" cap="none" spc="0" normalizeH="0" baseline="0">
              <a:ln>
                <a:noFill/>
              </a:ln>
              <a:solidFill>
                <a:srgbClr val="000000"/>
              </a:solidFill>
              <a:effectLst/>
              <a:uFillTx/>
              <a:latin typeface="Helvetica Neue"/>
              <a:ea typeface="Helvetica Neue"/>
              <a:cs typeface="Helvetica Neue"/>
            </a:endParaRPr>
          </a:p>
        </p:txBody>
      </p:sp>
      <p:graphicFrame>
        <p:nvGraphicFramePr>
          <p:cNvPr id="63" name="Table 62">
            <a:extLst>
              <a:ext uri="{FF2B5EF4-FFF2-40B4-BE49-F238E27FC236}">
                <a16:creationId xmlns:a16="http://schemas.microsoft.com/office/drawing/2014/main" id="{04A377E1-D6C2-07BA-5F68-8B24A6D764B8}"/>
              </a:ext>
            </a:extLst>
          </p:cNvPr>
          <p:cNvGraphicFramePr>
            <a:graphicFrameLocks noGrp="1"/>
          </p:cNvGraphicFramePr>
          <p:nvPr>
            <p:extLst>
              <p:ext uri="{D42A27DB-BD31-4B8C-83A1-F6EECF244321}">
                <p14:modId xmlns:p14="http://schemas.microsoft.com/office/powerpoint/2010/main" val="4178723366"/>
              </p:ext>
            </p:extLst>
          </p:nvPr>
        </p:nvGraphicFramePr>
        <p:xfrm>
          <a:off x="7056541" y="2839855"/>
          <a:ext cx="1114425" cy="2857685"/>
        </p:xfrm>
        <a:graphic>
          <a:graphicData uri="http://schemas.openxmlformats.org/drawingml/2006/table">
            <a:tbl>
              <a:tblPr bandRow="1">
                <a:tableStyleId>{5C22544A-7EE6-4342-B048-85BDC9FD1C3A}</a:tableStyleId>
              </a:tblPr>
              <a:tblGrid>
                <a:gridCol w="1114425">
                  <a:extLst>
                    <a:ext uri="{9D8B030D-6E8A-4147-A177-3AD203B41FA5}">
                      <a16:colId xmlns:a16="http://schemas.microsoft.com/office/drawing/2014/main" val="1861306617"/>
                    </a:ext>
                  </a:extLst>
                </a:gridCol>
              </a:tblGrid>
              <a:tr h="571537">
                <a:tc>
                  <a:txBody>
                    <a:bodyPr/>
                    <a:lstStyle/>
                    <a:p>
                      <a:pPr algn="ctr" fontAlgn="base"/>
                      <a:r>
                        <a:rPr lang="en-US" sz="1200">
                          <a:effectLst/>
                          <a:highlight>
                            <a:srgbClr val="D5D5D5"/>
                          </a:highlight>
                          <a:latin typeface="Helvetica Neu"/>
                        </a:rPr>
                        <a:t>[1e-5, 1e-2]</a:t>
                      </a:r>
                      <a:endParaRPr lang="en-US">
                        <a:effectLst/>
                        <a:highlight>
                          <a:srgbClr val="D5D5D5"/>
                        </a:highligh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D5D5"/>
                    </a:solidFill>
                  </a:tcPr>
                </a:tc>
                <a:extLst>
                  <a:ext uri="{0D108BD9-81ED-4DB2-BD59-A6C34878D82A}">
                    <a16:rowId xmlns:a16="http://schemas.microsoft.com/office/drawing/2014/main" val="386025821"/>
                  </a:ext>
                </a:extLst>
              </a:tr>
              <a:tr h="571537">
                <a:tc>
                  <a:txBody>
                    <a:bodyPr/>
                    <a:lstStyle/>
                    <a:p>
                      <a:pPr algn="ctr" fontAlgn="base"/>
                      <a:r>
                        <a:rPr lang="en-US" sz="1200">
                          <a:effectLst/>
                          <a:highlight>
                            <a:srgbClr val="D5D5D5"/>
                          </a:highlight>
                          <a:latin typeface="Helvetica Neu"/>
                        </a:rPr>
                        <a:t>[128, 256]</a:t>
                      </a:r>
                      <a:endParaRPr lang="en-US">
                        <a:effectLst/>
                        <a:highlight>
                          <a:srgbClr val="D5D5D5"/>
                        </a:highligh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D5D5"/>
                    </a:solidFill>
                  </a:tcPr>
                </a:tc>
                <a:extLst>
                  <a:ext uri="{0D108BD9-81ED-4DB2-BD59-A6C34878D82A}">
                    <a16:rowId xmlns:a16="http://schemas.microsoft.com/office/drawing/2014/main" val="3956675620"/>
                  </a:ext>
                </a:extLst>
              </a:tr>
              <a:tr h="571537">
                <a:tc>
                  <a:txBody>
                    <a:bodyPr/>
                    <a:lstStyle/>
                    <a:p>
                      <a:pPr algn="ctr" fontAlgn="base"/>
                      <a:r>
                        <a:rPr lang="en-US" sz="1200">
                          <a:effectLst/>
                          <a:highlight>
                            <a:srgbClr val="D5D5D5"/>
                          </a:highlight>
                          <a:latin typeface="Helvetica Neu"/>
                        </a:rPr>
                        <a:t>[0.5, None]</a:t>
                      </a:r>
                      <a:endParaRPr lang="en-US">
                        <a:effectLst/>
                        <a:highlight>
                          <a:srgbClr val="D5D5D5"/>
                        </a:highligh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D5D5"/>
                    </a:solidFill>
                  </a:tcPr>
                </a:tc>
                <a:extLst>
                  <a:ext uri="{0D108BD9-81ED-4DB2-BD59-A6C34878D82A}">
                    <a16:rowId xmlns:a16="http://schemas.microsoft.com/office/drawing/2014/main" val="4096705479"/>
                  </a:ext>
                </a:extLst>
              </a:tr>
              <a:tr h="571537">
                <a:tc>
                  <a:txBody>
                    <a:bodyPr/>
                    <a:lstStyle/>
                    <a:p>
                      <a:pPr algn="ctr" fontAlgn="base"/>
                      <a:r>
                        <a:rPr lang="en-US" sz="1200">
                          <a:effectLst/>
                          <a:highlight>
                            <a:srgbClr val="D5D5D5"/>
                          </a:highlight>
                          <a:latin typeface="Helvetica Neu"/>
                        </a:rPr>
                        <a:t>[True, False]</a:t>
                      </a:r>
                      <a:endParaRPr lang="en-US">
                        <a:effectLst/>
                        <a:highlight>
                          <a:srgbClr val="D5D5D5"/>
                        </a:highligh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D5D5"/>
                    </a:solidFill>
                  </a:tcPr>
                </a:tc>
                <a:extLst>
                  <a:ext uri="{0D108BD9-81ED-4DB2-BD59-A6C34878D82A}">
                    <a16:rowId xmlns:a16="http://schemas.microsoft.com/office/drawing/2014/main" val="324557126"/>
                  </a:ext>
                </a:extLst>
              </a:tr>
              <a:tr h="571537">
                <a:tc>
                  <a:txBody>
                    <a:bodyPr/>
                    <a:lstStyle/>
                    <a:p>
                      <a:pPr algn="ctr" fontAlgn="base"/>
                      <a:r>
                        <a:rPr lang="en-US" sz="1200">
                          <a:effectLst/>
                          <a:highlight>
                            <a:srgbClr val="D5D5D5"/>
                          </a:highlight>
                          <a:latin typeface="Helvetica Neu"/>
                        </a:rPr>
                        <a:t>[1e-5, 1e-2]</a:t>
                      </a:r>
                      <a:endParaRPr lang="en-US">
                        <a:effectLst/>
                        <a:highlight>
                          <a:srgbClr val="D5D5D5"/>
                        </a:highligh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D5D5"/>
                    </a:solidFill>
                  </a:tcPr>
                </a:tc>
                <a:extLst>
                  <a:ext uri="{0D108BD9-81ED-4DB2-BD59-A6C34878D82A}">
                    <a16:rowId xmlns:a16="http://schemas.microsoft.com/office/drawing/2014/main" val="1587977900"/>
                  </a:ext>
                </a:extLst>
              </a:tr>
            </a:tbl>
          </a:graphicData>
        </a:graphic>
      </p:graphicFrame>
      <p:graphicFrame>
        <p:nvGraphicFramePr>
          <p:cNvPr id="4" name="Diagram 3">
            <a:extLst>
              <a:ext uri="{FF2B5EF4-FFF2-40B4-BE49-F238E27FC236}">
                <a16:creationId xmlns:a16="http://schemas.microsoft.com/office/drawing/2014/main" id="{55963E2F-AA06-4B47-ADB8-054E1C860A16}"/>
              </a:ext>
            </a:extLst>
          </p:cNvPr>
          <p:cNvGraphicFramePr/>
          <p:nvPr>
            <p:extLst>
              <p:ext uri="{D42A27DB-BD31-4B8C-83A1-F6EECF244321}">
                <p14:modId xmlns:p14="http://schemas.microsoft.com/office/powerpoint/2010/main" val="3156121472"/>
              </p:ext>
            </p:extLst>
          </p:nvPr>
        </p:nvGraphicFramePr>
        <p:xfrm>
          <a:off x="8167499" y="2729245"/>
          <a:ext cx="3563577" cy="29273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7" name="Textplatzhalter 2">
            <a:extLst>
              <a:ext uri="{FF2B5EF4-FFF2-40B4-BE49-F238E27FC236}">
                <a16:creationId xmlns:a16="http://schemas.microsoft.com/office/drawing/2014/main" id="{56B57F78-CE39-D206-BA1A-6BEAD5A26135}"/>
              </a:ext>
            </a:extLst>
          </p:cNvPr>
          <p:cNvSpPr txBox="1">
            <a:spLocks/>
          </p:cNvSpPr>
          <p:nvPr/>
        </p:nvSpPr>
        <p:spPr>
          <a:xfrm>
            <a:off x="1459465" y="1620546"/>
            <a:ext cx="2286891" cy="614289"/>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00000"/>
              </a:lnSpc>
            </a:pPr>
            <a:r>
              <a:rPr lang="en-US" b="1" kern="0">
                <a:ea typeface="+mj-lt"/>
                <a:cs typeface="+mj-lt"/>
              </a:rPr>
              <a:t>Model Exploration </a:t>
            </a:r>
            <a:endParaRPr lang="en-US" b="1">
              <a:ea typeface="+mj-lt"/>
              <a:cs typeface="+mj-lt"/>
            </a:endParaRPr>
          </a:p>
          <a:p>
            <a:pPr algn="ctr">
              <a:lnSpc>
                <a:spcPct val="100000"/>
              </a:lnSpc>
            </a:pPr>
            <a:r>
              <a:rPr lang="en-US" b="1" kern="0">
                <a:ea typeface="+mj-lt"/>
                <a:cs typeface="+mj-lt"/>
              </a:rPr>
              <a:t>&amp; Selection</a:t>
            </a:r>
            <a:endParaRPr lang="en-US" b="1"/>
          </a:p>
        </p:txBody>
      </p:sp>
      <p:sp>
        <p:nvSpPr>
          <p:cNvPr id="8" name="Textplatzhalter 2">
            <a:extLst>
              <a:ext uri="{FF2B5EF4-FFF2-40B4-BE49-F238E27FC236}">
                <a16:creationId xmlns:a16="http://schemas.microsoft.com/office/drawing/2014/main" id="{84E80B3D-541F-70AE-490F-CFC3A6F03003}"/>
              </a:ext>
            </a:extLst>
          </p:cNvPr>
          <p:cNvSpPr txBox="1">
            <a:spLocks/>
          </p:cNvSpPr>
          <p:nvPr/>
        </p:nvSpPr>
        <p:spPr>
          <a:xfrm>
            <a:off x="4949660" y="1617197"/>
            <a:ext cx="2286891" cy="620987"/>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00000"/>
              </a:lnSpc>
            </a:pPr>
            <a:r>
              <a:rPr lang="en-US" b="1" kern="0">
                <a:ea typeface="+mj-lt"/>
                <a:cs typeface="+mj-lt"/>
              </a:rPr>
              <a:t>Bayesian Optimization</a:t>
            </a:r>
            <a:endParaRPr lang="en-US"/>
          </a:p>
        </p:txBody>
      </p:sp>
    </p:spTree>
    <p:extLst>
      <p:ext uri="{BB962C8B-B14F-4D97-AF65-F5344CB8AC3E}">
        <p14:creationId xmlns:p14="http://schemas.microsoft.com/office/powerpoint/2010/main" val="3277142740"/>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5" name="Straight Arrow Connector 34">
            <a:extLst>
              <a:ext uri="{FF2B5EF4-FFF2-40B4-BE49-F238E27FC236}">
                <a16:creationId xmlns:a16="http://schemas.microsoft.com/office/drawing/2014/main" id="{EFCB2A8B-77BE-8B08-08BA-08A914A85658}"/>
              </a:ext>
            </a:extLst>
          </p:cNvPr>
          <p:cNvCxnSpPr/>
          <p:nvPr/>
        </p:nvCxnSpPr>
        <p:spPr>
          <a:xfrm flipV="1">
            <a:off x="519263" y="2472110"/>
            <a:ext cx="11335768" cy="9993"/>
          </a:xfrm>
          <a:prstGeom prst="straightConnector1">
            <a:avLst/>
          </a:prstGeom>
          <a:noFill/>
          <a:ln w="57150" cap="flat">
            <a:solidFill>
              <a:schemeClr val="tx1"/>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2" name="Textplatzhalter 1">
            <a:extLst>
              <a:ext uri="{FF2B5EF4-FFF2-40B4-BE49-F238E27FC236}">
                <a16:creationId xmlns:a16="http://schemas.microsoft.com/office/drawing/2014/main" id="{F7857DC1-B240-2014-FF35-005F90715DFD}"/>
              </a:ext>
            </a:extLst>
          </p:cNvPr>
          <p:cNvSpPr>
            <a:spLocks noGrp="1"/>
          </p:cNvSpPr>
          <p:nvPr>
            <p:ph type="body" sz="quarter" idx="14"/>
          </p:nvPr>
        </p:nvSpPr>
        <p:spPr/>
        <p:txBody>
          <a:bodyPr lIns="91440" tIns="45720" rIns="91440" bIns="45720" anchor="t"/>
          <a:lstStyle/>
          <a:p>
            <a:r>
              <a:rPr lang="en-US"/>
              <a:t>Modeling – Transformer</a:t>
            </a:r>
          </a:p>
        </p:txBody>
      </p:sp>
      <p:sp>
        <p:nvSpPr>
          <p:cNvPr id="3" name="Textplatzhalter 2">
            <a:extLst>
              <a:ext uri="{FF2B5EF4-FFF2-40B4-BE49-F238E27FC236}">
                <a16:creationId xmlns:a16="http://schemas.microsoft.com/office/drawing/2014/main" id="{281105C5-44E1-6128-D52F-2586EB705ADC}"/>
              </a:ext>
            </a:extLst>
          </p:cNvPr>
          <p:cNvSpPr>
            <a:spLocks noGrp="1"/>
          </p:cNvSpPr>
          <p:nvPr>
            <p:ph type="body" sz="quarter" idx="15"/>
          </p:nvPr>
        </p:nvSpPr>
        <p:spPr>
          <a:xfrm>
            <a:off x="461168" y="1158059"/>
            <a:ext cx="11612880" cy="246221"/>
          </a:xfrm>
        </p:spPr>
        <p:txBody>
          <a:bodyPr lIns="91440" tIns="45720" rIns="91440" bIns="45720" anchor="t"/>
          <a:lstStyle/>
          <a:p>
            <a:r>
              <a:rPr lang="en-US">
                <a:ea typeface="+mj-lt"/>
                <a:cs typeface="+mj-lt"/>
              </a:rPr>
              <a:t>Boosting our Model’s Accuracy by 16 p.p. (27%) with Transformer </a:t>
            </a:r>
            <a:r>
              <a:rPr lang="en-US" err="1">
                <a:ea typeface="+mj-lt"/>
                <a:cs typeface="+mj-lt"/>
              </a:rPr>
              <a:t>XiT</a:t>
            </a:r>
            <a:r>
              <a:rPr lang="en-US">
                <a:ea typeface="+mj-lt"/>
                <a:cs typeface="+mj-lt"/>
              </a:rPr>
              <a:t> – and the Baseline Model’s Accuracy by 51 p.p. (204%)</a:t>
            </a:r>
          </a:p>
        </p:txBody>
      </p:sp>
      <p:sp>
        <p:nvSpPr>
          <p:cNvPr id="25" name="Oval 24">
            <a:extLst>
              <a:ext uri="{FF2B5EF4-FFF2-40B4-BE49-F238E27FC236}">
                <a16:creationId xmlns:a16="http://schemas.microsoft.com/office/drawing/2014/main" id="{AF50A492-B016-E8BE-92C2-E5C7EC0C2F59}"/>
              </a:ext>
            </a:extLst>
          </p:cNvPr>
          <p:cNvSpPr>
            <a:spLocks noChangeAspect="1"/>
          </p:cNvSpPr>
          <p:nvPr/>
        </p:nvSpPr>
        <p:spPr>
          <a:xfrm>
            <a:off x="2463071" y="2325331"/>
            <a:ext cx="279681" cy="273316"/>
          </a:xfrm>
          <a:prstGeom prst="ellipse">
            <a:avLst/>
          </a:prstGeom>
          <a:solidFill>
            <a:schemeClr val="accent3">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26" name="Textplatzhalter 2">
            <a:extLst>
              <a:ext uri="{FF2B5EF4-FFF2-40B4-BE49-F238E27FC236}">
                <a16:creationId xmlns:a16="http://schemas.microsoft.com/office/drawing/2014/main" id="{CBA1AAD0-6D7B-083C-8A3C-4D9FC143648D}"/>
              </a:ext>
            </a:extLst>
          </p:cNvPr>
          <p:cNvSpPr txBox="1">
            <a:spLocks/>
          </p:cNvSpPr>
          <p:nvPr/>
        </p:nvSpPr>
        <p:spPr>
          <a:xfrm>
            <a:off x="1459099" y="1601885"/>
            <a:ext cx="2286891" cy="614289"/>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50000"/>
              </a:lnSpc>
            </a:pPr>
            <a:r>
              <a:rPr lang="en-US" b="1" kern="0">
                <a:ea typeface="+mj-lt"/>
                <a:cs typeface="+mj-lt"/>
              </a:rPr>
              <a:t>Model Exploration </a:t>
            </a:r>
            <a:endParaRPr lang="en-US" b="1">
              <a:ea typeface="+mj-lt"/>
              <a:cs typeface="+mj-lt"/>
            </a:endParaRPr>
          </a:p>
          <a:p>
            <a:pPr algn="ctr">
              <a:lnSpc>
                <a:spcPct val="150000"/>
              </a:lnSpc>
            </a:pPr>
            <a:r>
              <a:rPr lang="en-US" b="1" kern="0">
                <a:ea typeface="+mj-lt"/>
                <a:cs typeface="+mj-lt"/>
              </a:rPr>
              <a:t>&amp; Selection</a:t>
            </a:r>
            <a:endParaRPr lang="en-US" b="1"/>
          </a:p>
        </p:txBody>
      </p:sp>
      <p:sp>
        <p:nvSpPr>
          <p:cNvPr id="31" name="Textplatzhalter 2">
            <a:extLst>
              <a:ext uri="{FF2B5EF4-FFF2-40B4-BE49-F238E27FC236}">
                <a16:creationId xmlns:a16="http://schemas.microsoft.com/office/drawing/2014/main" id="{BF36CCF0-CC6B-3BDE-F23D-A5979DDC9B79}"/>
              </a:ext>
            </a:extLst>
          </p:cNvPr>
          <p:cNvSpPr txBox="1">
            <a:spLocks/>
          </p:cNvSpPr>
          <p:nvPr/>
        </p:nvSpPr>
        <p:spPr>
          <a:xfrm>
            <a:off x="8791787" y="1598762"/>
            <a:ext cx="2286891" cy="622662"/>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50000"/>
              </a:lnSpc>
            </a:pPr>
            <a:r>
              <a:rPr lang="en-US" b="1" kern="0"/>
              <a:t>Final Training</a:t>
            </a:r>
            <a:endParaRPr lang="en-US"/>
          </a:p>
        </p:txBody>
      </p:sp>
      <p:sp>
        <p:nvSpPr>
          <p:cNvPr id="33" name="Textplatzhalter 2">
            <a:extLst>
              <a:ext uri="{FF2B5EF4-FFF2-40B4-BE49-F238E27FC236}">
                <a16:creationId xmlns:a16="http://schemas.microsoft.com/office/drawing/2014/main" id="{C62E3ECD-E56C-A9A6-BC63-BE44E5A3AFC9}"/>
              </a:ext>
            </a:extLst>
          </p:cNvPr>
          <p:cNvSpPr txBox="1">
            <a:spLocks/>
          </p:cNvSpPr>
          <p:nvPr/>
        </p:nvSpPr>
        <p:spPr>
          <a:xfrm>
            <a:off x="4950557" y="1598762"/>
            <a:ext cx="2286891" cy="620987"/>
          </a:xfrm>
          <a:prstGeom prst="rect">
            <a:avLst/>
          </a:prstGeom>
        </p:spPr>
        <p:txBody>
          <a:bodyPr lIns="91440" tIns="45720" rIns="91440" bIns="45720" anchor="ctr"/>
          <a:lstStyle>
            <a:lvl1pPr marL="0" marR="0" indent="0" algn="l" defTabSz="412750" rtl="0" fontAlgn="auto" latinLnBrk="0" hangingPunct="0">
              <a:lnSpc>
                <a:spcPct val="80000"/>
              </a:lnSpc>
              <a:spcBef>
                <a:spcPts val="0"/>
              </a:spcBef>
              <a:spcAft>
                <a:spcPts val="0"/>
              </a:spcAft>
              <a:buClrTx/>
              <a:buSzTx/>
              <a:buFontTx/>
              <a:buNone/>
              <a:tabLst/>
              <a:defRPr kumimoji="0" lang="en-US" sz="1600" b="0" i="0" u="none" strike="noStrike" cap="none" spc="0" normalizeH="0" baseline="0" dirty="0" smtClean="0">
                <a:ln>
                  <a:noFill/>
                </a:ln>
                <a:solidFill>
                  <a:srgbClr val="000000"/>
                </a:solidFill>
                <a:effectLst/>
                <a:uFillTx/>
                <a:latin typeface="+mj-lt"/>
                <a:ea typeface="Playfair Display"/>
                <a:cs typeface="Playfair Display"/>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a:lstStyle>
          <a:p>
            <a:pPr algn="ctr">
              <a:lnSpc>
                <a:spcPct val="150000"/>
              </a:lnSpc>
            </a:pPr>
            <a:r>
              <a:rPr lang="en-US" b="1" kern="0">
                <a:ea typeface="+mj-lt"/>
                <a:cs typeface="+mj-lt"/>
              </a:rPr>
              <a:t>Bayesian Optimization</a:t>
            </a:r>
            <a:endParaRPr lang="en-US"/>
          </a:p>
        </p:txBody>
      </p:sp>
      <p:sp>
        <p:nvSpPr>
          <p:cNvPr id="45" name="Oval 44">
            <a:extLst>
              <a:ext uri="{FF2B5EF4-FFF2-40B4-BE49-F238E27FC236}">
                <a16:creationId xmlns:a16="http://schemas.microsoft.com/office/drawing/2014/main" id="{DED615AE-506A-D551-6E9C-3FE21CB2CD21}"/>
              </a:ext>
            </a:extLst>
          </p:cNvPr>
          <p:cNvSpPr>
            <a:spLocks noChangeAspect="1"/>
          </p:cNvSpPr>
          <p:nvPr/>
        </p:nvSpPr>
        <p:spPr>
          <a:xfrm>
            <a:off x="5956717" y="2325331"/>
            <a:ext cx="279681" cy="273316"/>
          </a:xfrm>
          <a:prstGeom prst="ellipse">
            <a:avLst/>
          </a:prstGeom>
          <a:solidFill>
            <a:schemeClr val="accent3">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sp>
        <p:nvSpPr>
          <p:cNvPr id="48" name="Oval 47">
            <a:extLst>
              <a:ext uri="{FF2B5EF4-FFF2-40B4-BE49-F238E27FC236}">
                <a16:creationId xmlns:a16="http://schemas.microsoft.com/office/drawing/2014/main" id="{555C60C6-3CDE-8906-2EF3-0CDB3CEC03E0}"/>
              </a:ext>
            </a:extLst>
          </p:cNvPr>
          <p:cNvSpPr>
            <a:spLocks noChangeAspect="1"/>
          </p:cNvSpPr>
          <p:nvPr/>
        </p:nvSpPr>
        <p:spPr>
          <a:xfrm>
            <a:off x="9793887" y="2325331"/>
            <a:ext cx="279681" cy="273316"/>
          </a:xfrm>
          <a:prstGeom prst="ellipse">
            <a:avLst/>
          </a:prstGeom>
          <a:solidFill>
            <a:schemeClr val="accent3">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err="1">
              <a:ln>
                <a:noFill/>
              </a:ln>
              <a:solidFill>
                <a:schemeClr val="tx1"/>
              </a:solidFill>
              <a:effectLst/>
              <a:uFillTx/>
              <a:latin typeface="+mn-lt"/>
              <a:ea typeface="+mn-ea"/>
              <a:cs typeface="+mn-cs"/>
              <a:sym typeface="Helvetica Neue Medium"/>
            </a:endParaRPr>
          </a:p>
        </p:txBody>
      </p:sp>
      <p:grpSp>
        <p:nvGrpSpPr>
          <p:cNvPr id="87" name="Group 86">
            <a:extLst>
              <a:ext uri="{FF2B5EF4-FFF2-40B4-BE49-F238E27FC236}">
                <a16:creationId xmlns:a16="http://schemas.microsoft.com/office/drawing/2014/main" id="{AEB9E155-99AB-3906-CFA3-9678631BBDEA}"/>
              </a:ext>
            </a:extLst>
          </p:cNvPr>
          <p:cNvGrpSpPr>
            <a:grpSpLocks noUngrp="1" noChangeAspect="1"/>
          </p:cNvGrpSpPr>
          <p:nvPr/>
        </p:nvGrpSpPr>
        <p:grpSpPr>
          <a:xfrm>
            <a:off x="1367989" y="3097606"/>
            <a:ext cx="2470222" cy="2179758"/>
            <a:chOff x="1460491" y="3964622"/>
            <a:chExt cx="1841833" cy="1645275"/>
          </a:xfrm>
        </p:grpSpPr>
        <p:sp>
          <p:nvSpPr>
            <p:cNvPr id="80" name="Preparation 25">
              <a:extLst>
                <a:ext uri="{FF2B5EF4-FFF2-40B4-BE49-F238E27FC236}">
                  <a16:creationId xmlns:a16="http://schemas.microsoft.com/office/drawing/2014/main" id="{9FB6CC80-4017-DD42-DC4B-E1DEE97D4812}"/>
                </a:ext>
              </a:extLst>
            </p:cNvPr>
            <p:cNvSpPr/>
            <p:nvPr/>
          </p:nvSpPr>
          <p:spPr>
            <a:xfrm rot="5400000">
              <a:off x="1956018" y="3964622"/>
              <a:ext cx="850778" cy="850778"/>
            </a:xfrm>
            <a:prstGeom prst="flowChartPreparation">
              <a:avLst/>
            </a:prstGeom>
            <a:solidFill>
              <a:srgbClr val="CDEC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algn="ctr" defTabSz="825500"/>
              <a:r>
                <a:rPr lang="en-US" sz="1200">
                  <a:ea typeface="+mn-lt"/>
                  <a:cs typeface="+mn-lt"/>
                  <a:sym typeface="Helvetica Neue Medium"/>
                </a:rPr>
                <a:t>Vision Transformer </a:t>
              </a:r>
              <a:endParaRPr lang="en-US" sz="1200"/>
            </a:p>
          </p:txBody>
        </p:sp>
        <p:sp>
          <p:nvSpPr>
            <p:cNvPr id="83" name="Preparation 27">
              <a:extLst>
                <a:ext uri="{FF2B5EF4-FFF2-40B4-BE49-F238E27FC236}">
                  <a16:creationId xmlns:a16="http://schemas.microsoft.com/office/drawing/2014/main" id="{5E1258DF-E2E8-5D3F-9E82-9E221EE2A4F7}"/>
                </a:ext>
              </a:extLst>
            </p:cNvPr>
            <p:cNvSpPr/>
            <p:nvPr/>
          </p:nvSpPr>
          <p:spPr>
            <a:xfrm rot="5400000">
              <a:off x="1460491" y="4759119"/>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algn="ctr" defTabSz="825500"/>
              <a:r>
                <a:rPr lang="en-US" sz="1200">
                  <a:solidFill>
                    <a:srgbClr val="000000"/>
                  </a:solidFill>
                  <a:ea typeface="+mn-lt"/>
                  <a:cs typeface="+mn-lt"/>
                </a:rPr>
                <a:t>Data-efficient Image Transformer</a:t>
              </a:r>
              <a:endParaRPr lang="en-US" sz="1200"/>
            </a:p>
          </p:txBody>
        </p:sp>
        <p:sp>
          <p:nvSpPr>
            <p:cNvPr id="84" name="Preparation 28">
              <a:extLst>
                <a:ext uri="{FF2B5EF4-FFF2-40B4-BE49-F238E27FC236}">
                  <a16:creationId xmlns:a16="http://schemas.microsoft.com/office/drawing/2014/main" id="{93E5E6EE-7AB2-98BF-52D7-F23189B67AFC}"/>
                </a:ext>
              </a:extLst>
            </p:cNvPr>
            <p:cNvSpPr/>
            <p:nvPr/>
          </p:nvSpPr>
          <p:spPr>
            <a:xfrm rot="5400000">
              <a:off x="2451546" y="4759119"/>
              <a:ext cx="850778" cy="850778"/>
            </a:xfrm>
            <a:prstGeom prst="flowChartPreparation">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72000" tIns="72000" rIns="72000" bIns="72000" numCol="1" spcCol="38100" rtlCol="0" anchor="ctr">
              <a:noAutofit/>
            </a:bodyPr>
            <a:lstStyle/>
            <a:p>
              <a:pPr algn="ctr" defTabSz="825500"/>
              <a:r>
                <a:rPr lang="en-US" sz="1200">
                  <a:sym typeface="Helvetica Neue Medium"/>
                </a:rPr>
                <a:t>Swin Transformer</a:t>
              </a:r>
              <a:endParaRPr lang="en-US" sz="1200"/>
            </a:p>
          </p:txBody>
        </p:sp>
      </p:grpSp>
      <p:graphicFrame>
        <p:nvGraphicFramePr>
          <p:cNvPr id="89" name="Diagram 88">
            <a:extLst>
              <a:ext uri="{FF2B5EF4-FFF2-40B4-BE49-F238E27FC236}">
                <a16:creationId xmlns:a16="http://schemas.microsoft.com/office/drawing/2014/main" id="{FE46E295-2118-0634-ED94-F5FADBA861C1}"/>
              </a:ext>
            </a:extLst>
          </p:cNvPr>
          <p:cNvGraphicFramePr/>
          <p:nvPr/>
        </p:nvGraphicFramePr>
        <p:xfrm>
          <a:off x="4486694" y="2234061"/>
          <a:ext cx="2427225" cy="40813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0" name="TextBox 89">
            <a:extLst>
              <a:ext uri="{FF2B5EF4-FFF2-40B4-BE49-F238E27FC236}">
                <a16:creationId xmlns:a16="http://schemas.microsoft.com/office/drawing/2014/main" id="{1394C2F8-B009-AF24-F428-4E4518A2D4D1}"/>
              </a:ext>
            </a:extLst>
          </p:cNvPr>
          <p:cNvSpPr txBox="1"/>
          <p:nvPr/>
        </p:nvSpPr>
        <p:spPr>
          <a:xfrm>
            <a:off x="7236551" y="2507951"/>
            <a:ext cx="670608"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600" i="0" strike="noStrike" cap="none" spc="0" normalizeH="0" baseline="0">
                <a:ln>
                  <a:noFill/>
                </a:ln>
                <a:solidFill>
                  <a:srgbClr val="000000"/>
                </a:solidFill>
                <a:effectLst/>
                <a:uFillTx/>
                <a:latin typeface="Helvetica Neue"/>
                <a:ea typeface="Helvetica Neue"/>
                <a:cs typeface="Helvetica Neue"/>
                <a:sym typeface="Helvetica Neue"/>
              </a:rPr>
              <a:t>Grid</a:t>
            </a:r>
            <a:endParaRPr lang="en-US" sz="1600" i="0" strike="noStrike" cap="none" spc="0" normalizeH="0" baseline="0">
              <a:ln>
                <a:noFill/>
              </a:ln>
              <a:solidFill>
                <a:srgbClr val="000000"/>
              </a:solidFill>
              <a:effectLst/>
              <a:uFillTx/>
              <a:latin typeface="Helvetica Neue"/>
              <a:ea typeface="Helvetica Neue"/>
              <a:cs typeface="Helvetica Neue"/>
            </a:endParaRPr>
          </a:p>
        </p:txBody>
      </p:sp>
      <p:graphicFrame>
        <p:nvGraphicFramePr>
          <p:cNvPr id="63" name="Table 62">
            <a:extLst>
              <a:ext uri="{FF2B5EF4-FFF2-40B4-BE49-F238E27FC236}">
                <a16:creationId xmlns:a16="http://schemas.microsoft.com/office/drawing/2014/main" id="{04A377E1-D6C2-07BA-5F68-8B24A6D764B8}"/>
              </a:ext>
            </a:extLst>
          </p:cNvPr>
          <p:cNvGraphicFramePr>
            <a:graphicFrameLocks noGrp="1"/>
          </p:cNvGraphicFramePr>
          <p:nvPr/>
        </p:nvGraphicFramePr>
        <p:xfrm>
          <a:off x="7056541" y="2839855"/>
          <a:ext cx="1114425" cy="2867025"/>
        </p:xfrm>
        <a:graphic>
          <a:graphicData uri="http://schemas.openxmlformats.org/drawingml/2006/table">
            <a:tbl>
              <a:tblPr bandRow="1">
                <a:tableStyleId>{5C22544A-7EE6-4342-B048-85BDC9FD1C3A}</a:tableStyleId>
              </a:tblPr>
              <a:tblGrid>
                <a:gridCol w="1114425">
                  <a:extLst>
                    <a:ext uri="{9D8B030D-6E8A-4147-A177-3AD203B41FA5}">
                      <a16:colId xmlns:a16="http://schemas.microsoft.com/office/drawing/2014/main" val="1861306617"/>
                    </a:ext>
                  </a:extLst>
                </a:gridCol>
              </a:tblGrid>
              <a:tr h="409575">
                <a:tc>
                  <a:txBody>
                    <a:bodyPr/>
                    <a:lstStyle/>
                    <a:p>
                      <a:pPr algn="ctr" fontAlgn="base"/>
                      <a:r>
                        <a:rPr lang="en-US" sz="1200" b="0">
                          <a:solidFill>
                            <a:srgbClr val="000000"/>
                          </a:solidFill>
                          <a:effectLst/>
                          <a:highlight>
                            <a:srgbClr val="D5D5D5"/>
                          </a:highlight>
                          <a:latin typeface="Helvetica Neu"/>
                        </a:rPr>
                        <a:t>[1 e-5,  1 e-3]</a:t>
                      </a:r>
                      <a:endParaRPr lang="en-US" b="1">
                        <a:solidFill>
                          <a:srgbClr val="FFFFFF"/>
                        </a:solidFill>
                        <a:effectLst/>
                        <a:highlight>
                          <a:srgbClr val="D5D5D5"/>
                        </a:highligh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D5D5"/>
                    </a:solidFill>
                  </a:tcPr>
                </a:tc>
                <a:extLst>
                  <a:ext uri="{0D108BD9-81ED-4DB2-BD59-A6C34878D82A}">
                    <a16:rowId xmlns:a16="http://schemas.microsoft.com/office/drawing/2014/main" val="1251912818"/>
                  </a:ext>
                </a:extLst>
              </a:tr>
              <a:tr h="409575">
                <a:tc>
                  <a:txBody>
                    <a:bodyPr/>
                    <a:lstStyle/>
                    <a:p>
                      <a:pPr algn="ctr" fontAlgn="base"/>
                      <a:r>
                        <a:rPr lang="en-US" sz="1200">
                          <a:effectLst/>
                          <a:highlight>
                            <a:srgbClr val="D5D5D5"/>
                          </a:highlight>
                          <a:latin typeface="Helvetica Neu"/>
                        </a:rPr>
                        <a:t>[8, 12]</a:t>
                      </a:r>
                      <a:endParaRPr lang="en-US">
                        <a:effectLst/>
                        <a:highlight>
                          <a:srgbClr val="D5D5D5"/>
                        </a:highligh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D5D5"/>
                    </a:solidFill>
                  </a:tcPr>
                </a:tc>
                <a:extLst>
                  <a:ext uri="{0D108BD9-81ED-4DB2-BD59-A6C34878D82A}">
                    <a16:rowId xmlns:a16="http://schemas.microsoft.com/office/drawing/2014/main" val="1485712032"/>
                  </a:ext>
                </a:extLst>
              </a:tr>
              <a:tr h="409575">
                <a:tc>
                  <a:txBody>
                    <a:bodyPr/>
                    <a:lstStyle/>
                    <a:p>
                      <a:pPr algn="ctr" fontAlgn="base"/>
                      <a:r>
                        <a:rPr lang="en-US" sz="1200">
                          <a:effectLst/>
                          <a:highlight>
                            <a:srgbClr val="D5D5D5"/>
                          </a:highlight>
                          <a:latin typeface="Helvetica Neu"/>
                        </a:rPr>
                        <a:t>[256, 512]</a:t>
                      </a:r>
                      <a:endParaRPr lang="en-US">
                        <a:effectLst/>
                        <a:highlight>
                          <a:srgbClr val="D5D5D5"/>
                        </a:highligh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D5D5"/>
                    </a:solidFill>
                  </a:tcPr>
                </a:tc>
                <a:extLst>
                  <a:ext uri="{0D108BD9-81ED-4DB2-BD59-A6C34878D82A}">
                    <a16:rowId xmlns:a16="http://schemas.microsoft.com/office/drawing/2014/main" val="386025821"/>
                  </a:ext>
                </a:extLst>
              </a:tr>
              <a:tr h="409575">
                <a:tc>
                  <a:txBody>
                    <a:bodyPr/>
                    <a:lstStyle/>
                    <a:p>
                      <a:pPr algn="ctr" fontAlgn="base"/>
                      <a:r>
                        <a:rPr lang="en-US" sz="1200">
                          <a:effectLst/>
                          <a:highlight>
                            <a:srgbClr val="D5D5D5"/>
                          </a:highlight>
                          <a:latin typeface="Helvetica Neu"/>
                        </a:rPr>
                        <a:t>[0.1, 0.3]</a:t>
                      </a:r>
                      <a:endParaRPr lang="en-US">
                        <a:effectLst/>
                        <a:highlight>
                          <a:srgbClr val="D5D5D5"/>
                        </a:highligh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D5D5"/>
                    </a:solidFill>
                  </a:tcPr>
                </a:tc>
                <a:extLst>
                  <a:ext uri="{0D108BD9-81ED-4DB2-BD59-A6C34878D82A}">
                    <a16:rowId xmlns:a16="http://schemas.microsoft.com/office/drawing/2014/main" val="3956675620"/>
                  </a:ext>
                </a:extLst>
              </a:tr>
              <a:tr h="409575">
                <a:tc>
                  <a:txBody>
                    <a:bodyPr/>
                    <a:lstStyle/>
                    <a:p>
                      <a:pPr algn="ctr" fontAlgn="base"/>
                      <a:r>
                        <a:rPr lang="en-US" sz="1200">
                          <a:effectLst/>
                          <a:highlight>
                            <a:srgbClr val="D5D5D5"/>
                          </a:highlight>
                          <a:latin typeface="Helvetica Neu"/>
                        </a:rPr>
                        <a:t>[True, False]</a:t>
                      </a:r>
                      <a:endParaRPr lang="en-US">
                        <a:effectLst/>
                        <a:highlight>
                          <a:srgbClr val="D5D5D5"/>
                        </a:highligh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D5D5"/>
                    </a:solidFill>
                  </a:tcPr>
                </a:tc>
                <a:extLst>
                  <a:ext uri="{0D108BD9-81ED-4DB2-BD59-A6C34878D82A}">
                    <a16:rowId xmlns:a16="http://schemas.microsoft.com/office/drawing/2014/main" val="4096705479"/>
                  </a:ext>
                </a:extLst>
              </a:tr>
              <a:tr h="409575">
                <a:tc>
                  <a:txBody>
                    <a:bodyPr/>
                    <a:lstStyle/>
                    <a:p>
                      <a:pPr algn="ctr" fontAlgn="base"/>
                      <a:r>
                        <a:rPr lang="en-US" sz="1200">
                          <a:effectLst/>
                          <a:highlight>
                            <a:srgbClr val="D5D5D5"/>
                          </a:highlight>
                          <a:latin typeface="Helvetica Neu"/>
                        </a:rPr>
                        <a:t>[1024, 20248]</a:t>
                      </a:r>
                      <a:endParaRPr lang="en-US">
                        <a:effectLst/>
                        <a:highlight>
                          <a:srgbClr val="D5D5D5"/>
                        </a:highligh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D5D5"/>
                    </a:solidFill>
                  </a:tcPr>
                </a:tc>
                <a:extLst>
                  <a:ext uri="{0D108BD9-81ED-4DB2-BD59-A6C34878D82A}">
                    <a16:rowId xmlns:a16="http://schemas.microsoft.com/office/drawing/2014/main" val="324557126"/>
                  </a:ext>
                </a:extLst>
              </a:tr>
              <a:tr h="409575">
                <a:tc>
                  <a:txBody>
                    <a:bodyPr/>
                    <a:lstStyle/>
                    <a:p>
                      <a:pPr algn="ctr" fontAlgn="base"/>
                      <a:r>
                        <a:rPr lang="en-US" sz="1200">
                          <a:effectLst/>
                          <a:highlight>
                            <a:srgbClr val="D5D5D5"/>
                          </a:highlight>
                          <a:latin typeface="Helvetica Neu"/>
                        </a:rPr>
                        <a:t>[4, 6]</a:t>
                      </a:r>
                      <a:endParaRPr lang="en-US">
                        <a:effectLst/>
                        <a:highlight>
                          <a:srgbClr val="D5D5D5"/>
                        </a:highligh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D5D5"/>
                    </a:solidFill>
                  </a:tcPr>
                </a:tc>
                <a:extLst>
                  <a:ext uri="{0D108BD9-81ED-4DB2-BD59-A6C34878D82A}">
                    <a16:rowId xmlns:a16="http://schemas.microsoft.com/office/drawing/2014/main" val="1587977900"/>
                  </a:ext>
                </a:extLst>
              </a:tr>
            </a:tbl>
          </a:graphicData>
        </a:graphic>
      </p:graphicFrame>
      <p:graphicFrame>
        <p:nvGraphicFramePr>
          <p:cNvPr id="4" name="Diagram 3">
            <a:extLst>
              <a:ext uri="{FF2B5EF4-FFF2-40B4-BE49-F238E27FC236}">
                <a16:creationId xmlns:a16="http://schemas.microsoft.com/office/drawing/2014/main" id="{55963E2F-AA06-4B47-ADB8-054E1C860A16}"/>
              </a:ext>
            </a:extLst>
          </p:cNvPr>
          <p:cNvGraphicFramePr/>
          <p:nvPr/>
        </p:nvGraphicFramePr>
        <p:xfrm>
          <a:off x="8167499" y="2729245"/>
          <a:ext cx="3563577" cy="29273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14277370"/>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cap="flat">
          <a:noFill/>
          <a:miter lim="400000"/>
        </a:ln>
        <a:effectLst/>
        <a:sp3d/>
      </a:spPr>
      <a:bodyPr rot="0" spcFirstLastPara="1" vertOverflow="overflow" horzOverflow="overflow" vert="horz" wrap="square" lIns="72000" tIns="72000" rIns="72000" bIns="72000" numCol="1" spcCol="38100" rtlCol="0" anchor="ctr">
        <a:noAutofit/>
      </a:bodyPr>
      <a:lstStyle>
        <a:defPPr marL="0" marR="0" indent="0" algn="ctr" defTabSz="825500" rtl="0" fontAlgn="auto" latinLnBrk="0" hangingPunct="0">
          <a:lnSpc>
            <a:spcPct val="100000"/>
          </a:lnSpc>
          <a:spcBef>
            <a:spcPts val="0"/>
          </a:spcBef>
          <a:spcAft>
            <a:spcPts val="0"/>
          </a:spcAft>
          <a:buClrTx/>
          <a:buSzTx/>
          <a:buFontTx/>
          <a:buNone/>
          <a:tabLst/>
          <a:defRPr kumimoji="0" sz="1800" b="0" i="0" u="none" strike="noStrike" cap="none" spc="0" normalizeH="0" baseline="0" dirty="0" err="1">
            <a:ln>
              <a:noFill/>
            </a:ln>
            <a:solidFill>
              <a:schemeClr val="tx1"/>
            </a:solidFill>
            <a:effectLst/>
            <a:uFillTx/>
            <a:latin typeface="+mn-lt"/>
            <a:ea typeface="+mn-ea"/>
            <a:cs typeface="+mn-cs"/>
            <a:sym typeface="Helvetica Neue Medium"/>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57664E8121F3F408F3B0D799D78F613" ma:contentTypeVersion="4" ma:contentTypeDescription="Create a new document." ma:contentTypeScope="" ma:versionID="0fc3298cd374d257d126b2d0df57005b">
  <xsd:schema xmlns:xsd="http://www.w3.org/2001/XMLSchema" xmlns:xs="http://www.w3.org/2001/XMLSchema" xmlns:p="http://schemas.microsoft.com/office/2006/metadata/properties" xmlns:ns2="8658a9f0-7ec6-4eaa-9cce-bfebe1931895" targetNamespace="http://schemas.microsoft.com/office/2006/metadata/properties" ma:root="true" ma:fieldsID="f68c300d83da8768d489be3083f70d68" ns2:_="">
    <xsd:import namespace="8658a9f0-7ec6-4eaa-9cce-bfebe193189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58a9f0-7ec6-4eaa-9cce-bfebe19318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20A9737-E761-4767-A6C8-7B4908441BCC}">
  <ds:schemaRefs>
    <ds:schemaRef ds:uri="http://schemas.microsoft.com/sharepoint/v3/contenttype/forms"/>
  </ds:schemaRefs>
</ds:datastoreItem>
</file>

<file path=customXml/itemProps2.xml><?xml version="1.0" encoding="utf-8"?>
<ds:datastoreItem xmlns:ds="http://schemas.openxmlformats.org/officeDocument/2006/customXml" ds:itemID="{5F425538-78B3-474E-AA34-D0E2DCC4781F}"/>
</file>

<file path=customXml/itemProps3.xml><?xml version="1.0" encoding="utf-8"?>
<ds:datastoreItem xmlns:ds="http://schemas.openxmlformats.org/officeDocument/2006/customXml" ds:itemID="{68C62456-A926-44FA-A481-AF7597058BA3}">
  <ds:schemaRefs>
    <ds:schemaRef ds:uri="8658a9f0-7ec6-4eaa-9cce-bfebe193189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8</Slides>
  <Notes>1</Notes>
  <HiddenSlides>1</HiddenSlides>
  <ScaleCrop>false</ScaleCrop>
  <HeadingPairs>
    <vt:vector size="4" baseType="variant">
      <vt:variant>
        <vt:lpstr>Theme</vt:lpstr>
      </vt:variant>
      <vt:variant>
        <vt:i4>1</vt:i4>
      </vt:variant>
      <vt:variant>
        <vt:lpstr>Slide Titles</vt:lpstr>
      </vt:variant>
      <vt:variant>
        <vt:i4>18</vt:i4>
      </vt:variant>
    </vt:vector>
  </HeadingPairs>
  <TitlesOfParts>
    <vt:vector size="19" baseType="lpstr">
      <vt:lpstr>Cont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Zeno Eule</dc:creator>
  <cp:revision>1</cp:revision>
  <dcterms:created xsi:type="dcterms:W3CDTF">2023-10-06T20:59:42Z</dcterms:created>
  <dcterms:modified xsi:type="dcterms:W3CDTF">2024-05-17T18:4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7664E8121F3F408F3B0D799D78F613</vt:lpwstr>
  </property>
  <property fmtid="{D5CDD505-2E9C-101B-9397-08002B2CF9AE}" pid="3" name="MediaServiceImageTags">
    <vt:lpwstr/>
  </property>
  <property fmtid="{D5CDD505-2E9C-101B-9397-08002B2CF9AE}" pid="4" name="Order">
    <vt:r8>7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ies>
</file>